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comments/modernComment_7FA35BB8_3A9A4448.xml" ContentType="application/vnd.ms-powerpoint.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8"/>
  </p:notesMasterIdLst>
  <p:sldIdLst>
    <p:sldId id="256" r:id="rId5"/>
    <p:sldId id="2141412291" r:id="rId6"/>
    <p:sldId id="2141412287" r:id="rId7"/>
    <p:sldId id="2141412284" r:id="rId8"/>
    <p:sldId id="2141412280" r:id="rId9"/>
    <p:sldId id="2141412276" r:id="rId10"/>
    <p:sldId id="2141412278" r:id="rId11"/>
    <p:sldId id="2141412289" r:id="rId12"/>
    <p:sldId id="2141412270" r:id="rId13"/>
    <p:sldId id="2141412288" r:id="rId14"/>
    <p:sldId id="2141412290" r:id="rId15"/>
    <p:sldId id="2141412079" r:id="rId16"/>
    <p:sldId id="2141412283"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05ABEC0-E5CA-6F31-B971-DD1FDC6FCC51}" name="Zamborlini, Filipe (EOHLC)" initials="FZ" userId="S::Filipe.Zamborlini@mass.gov::d258b38a-e832-4fb6-b534-07694169758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hannon, Patrick (EOED)" initials="SP(" lastIdx="1" clrIdx="0">
    <p:extLst>
      <p:ext uri="{19B8F6BF-5375-455C-9EA6-DF929625EA0E}">
        <p15:presenceInfo xmlns:p15="http://schemas.microsoft.com/office/powerpoint/2012/main" userId="S::Patrick.Shannon@mass.gov::d91511b2-03db-4234-a1a6-1fe33e63200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BD1DF02-D79F-2A2A-A098-0A99929B045F}" v="3" dt="2024-02-05T13:11:35.90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868"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nnon, Patrick (EOED)" userId="d91511b2-03db-4234-a1a6-1fe33e63200b" providerId="ADAL" clId="{2CAD2F15-E6CA-41AC-9065-CA602B0B8BED}"/>
    <pc:docChg chg="undo custSel addSld delSld modSld sldOrd">
      <pc:chgData name="Shannon, Patrick (EOED)" userId="d91511b2-03db-4234-a1a6-1fe33e63200b" providerId="ADAL" clId="{2CAD2F15-E6CA-41AC-9065-CA602B0B8BED}" dt="2023-11-20T16:10:10.668" v="3818" actId="20577"/>
      <pc:docMkLst>
        <pc:docMk/>
      </pc:docMkLst>
      <pc:sldChg chg="modSp add del mod">
        <pc:chgData name="Shannon, Patrick (EOED)" userId="d91511b2-03db-4234-a1a6-1fe33e63200b" providerId="ADAL" clId="{2CAD2F15-E6CA-41AC-9065-CA602B0B8BED}" dt="2023-11-06T15:00:52.623" v="1201" actId="47"/>
        <pc:sldMkLst>
          <pc:docMk/>
          <pc:sldMk cId="1094444044" sldId="2141412065"/>
        </pc:sldMkLst>
        <pc:spChg chg="mod">
          <ac:chgData name="Shannon, Patrick (EOED)" userId="d91511b2-03db-4234-a1a6-1fe33e63200b" providerId="ADAL" clId="{2CAD2F15-E6CA-41AC-9065-CA602B0B8BED}" dt="2023-11-06T14:34:55.850" v="109" actId="20577"/>
          <ac:spMkLst>
            <pc:docMk/>
            <pc:sldMk cId="1094444044" sldId="2141412065"/>
            <ac:spMk id="5" creationId="{00000000-0000-0000-0000-000000000000}"/>
          </ac:spMkLst>
        </pc:spChg>
        <pc:spChg chg="mod">
          <ac:chgData name="Shannon, Patrick (EOED)" userId="d91511b2-03db-4234-a1a6-1fe33e63200b" providerId="ADAL" clId="{2CAD2F15-E6CA-41AC-9065-CA602B0B8BED}" dt="2023-11-06T14:35:06.930" v="123" actId="20577"/>
          <ac:spMkLst>
            <pc:docMk/>
            <pc:sldMk cId="1094444044" sldId="2141412065"/>
            <ac:spMk id="12" creationId="{CC51C3F2-8DBE-4D19-8BF5-0648C1AD9E61}"/>
          </ac:spMkLst>
        </pc:spChg>
      </pc:sldChg>
      <pc:sldChg chg="addSp delSp modSp add del mod ord">
        <pc:chgData name="Shannon, Patrick (EOED)" userId="d91511b2-03db-4234-a1a6-1fe33e63200b" providerId="ADAL" clId="{2CAD2F15-E6CA-41AC-9065-CA602B0B8BED}" dt="2023-11-06T20:28:30.606" v="1628" actId="47"/>
        <pc:sldMkLst>
          <pc:docMk/>
          <pc:sldMk cId="1048027085" sldId="2141412076"/>
        </pc:sldMkLst>
        <pc:spChg chg="mod">
          <ac:chgData name="Shannon, Patrick (EOED)" userId="d91511b2-03db-4234-a1a6-1fe33e63200b" providerId="ADAL" clId="{2CAD2F15-E6CA-41AC-9065-CA602B0B8BED}" dt="2023-11-06T14:36:38.690" v="135" actId="1076"/>
          <ac:spMkLst>
            <pc:docMk/>
            <pc:sldMk cId="1048027085" sldId="2141412076"/>
            <ac:spMk id="4" creationId="{3509EB56-2933-4033-BF05-F10381A7E013}"/>
          </ac:spMkLst>
        </pc:spChg>
        <pc:spChg chg="mod">
          <ac:chgData name="Shannon, Patrick (EOED)" userId="d91511b2-03db-4234-a1a6-1fe33e63200b" providerId="ADAL" clId="{2CAD2F15-E6CA-41AC-9065-CA602B0B8BED}" dt="2023-11-06T14:30:18.299" v="29" actId="20577"/>
          <ac:spMkLst>
            <pc:docMk/>
            <pc:sldMk cId="1048027085" sldId="2141412076"/>
            <ac:spMk id="8" creationId="{DEF01654-4606-4B6F-9B07-44CB9B89AF22}"/>
          </ac:spMkLst>
        </pc:spChg>
        <pc:picChg chg="del">
          <ac:chgData name="Shannon, Patrick (EOED)" userId="d91511b2-03db-4234-a1a6-1fe33e63200b" providerId="ADAL" clId="{2CAD2F15-E6CA-41AC-9065-CA602B0B8BED}" dt="2023-11-06T14:35:11.574" v="124" actId="478"/>
          <ac:picMkLst>
            <pc:docMk/>
            <pc:sldMk cId="1048027085" sldId="2141412076"/>
            <ac:picMk id="5" creationId="{AD403AFE-5AF5-4ABA-AFA1-8FE28525C002}"/>
          </ac:picMkLst>
        </pc:picChg>
        <pc:picChg chg="add mod">
          <ac:chgData name="Shannon, Patrick (EOED)" userId="d91511b2-03db-4234-a1a6-1fe33e63200b" providerId="ADAL" clId="{2CAD2F15-E6CA-41AC-9065-CA602B0B8BED}" dt="2023-11-06T14:36:41.587" v="136" actId="1076"/>
          <ac:picMkLst>
            <pc:docMk/>
            <pc:sldMk cId="1048027085" sldId="2141412076"/>
            <ac:picMk id="6" creationId="{8DE78E3B-6618-4780-9970-4EB71AE13754}"/>
          </ac:picMkLst>
        </pc:picChg>
        <pc:picChg chg="add del mod">
          <ac:chgData name="Shannon, Patrick (EOED)" userId="d91511b2-03db-4234-a1a6-1fe33e63200b" providerId="ADAL" clId="{2CAD2F15-E6CA-41AC-9065-CA602B0B8BED}" dt="2023-11-06T14:35:37.756" v="130" actId="478"/>
          <ac:picMkLst>
            <pc:docMk/>
            <pc:sldMk cId="1048027085" sldId="2141412076"/>
            <ac:picMk id="7" creationId="{DEAA44FF-DC4D-4493-9ED7-76B1C72FBCA8}"/>
          </ac:picMkLst>
        </pc:picChg>
      </pc:sldChg>
      <pc:sldChg chg="addSp delSp modSp add mod">
        <pc:chgData name="Shannon, Patrick (EOED)" userId="d91511b2-03db-4234-a1a6-1fe33e63200b" providerId="ADAL" clId="{2CAD2F15-E6CA-41AC-9065-CA602B0B8BED}" dt="2023-11-20T16:10:10.668" v="3818" actId="20577"/>
        <pc:sldMkLst>
          <pc:docMk/>
          <pc:sldMk cId="1839802865" sldId="2141412079"/>
        </pc:sldMkLst>
        <pc:spChg chg="mod">
          <ac:chgData name="Shannon, Patrick (EOED)" userId="d91511b2-03db-4234-a1a6-1fe33e63200b" providerId="ADAL" clId="{2CAD2F15-E6CA-41AC-9065-CA602B0B8BED}" dt="2023-11-06T14:57:00.490" v="1167" actId="1076"/>
          <ac:spMkLst>
            <pc:docMk/>
            <pc:sldMk cId="1839802865" sldId="2141412079"/>
            <ac:spMk id="4" creationId="{00000000-0000-0000-0000-000000000000}"/>
          </ac:spMkLst>
        </pc:spChg>
        <pc:spChg chg="mod">
          <ac:chgData name="Shannon, Patrick (EOED)" userId="d91511b2-03db-4234-a1a6-1fe33e63200b" providerId="ADAL" clId="{2CAD2F15-E6CA-41AC-9065-CA602B0B8BED}" dt="2023-11-06T14:56:47.202" v="1165" actId="1076"/>
          <ac:spMkLst>
            <pc:docMk/>
            <pc:sldMk cId="1839802865" sldId="2141412079"/>
            <ac:spMk id="10" creationId="{00000000-0000-0000-0000-000000000000}"/>
          </ac:spMkLst>
        </pc:spChg>
        <pc:spChg chg="mod">
          <ac:chgData name="Shannon, Patrick (EOED)" userId="d91511b2-03db-4234-a1a6-1fe33e63200b" providerId="ADAL" clId="{2CAD2F15-E6CA-41AC-9065-CA602B0B8BED}" dt="2023-11-06T14:56:36.968" v="1163" actId="6549"/>
          <ac:spMkLst>
            <pc:docMk/>
            <pc:sldMk cId="1839802865" sldId="2141412079"/>
            <ac:spMk id="12" creationId="{00000000-0000-0000-0000-000000000000}"/>
          </ac:spMkLst>
        </pc:spChg>
        <pc:spChg chg="mod">
          <ac:chgData name="Shannon, Patrick (EOED)" userId="d91511b2-03db-4234-a1a6-1fe33e63200b" providerId="ADAL" clId="{2CAD2F15-E6CA-41AC-9065-CA602B0B8BED}" dt="2023-11-06T14:47:12.594" v="527" actId="20577"/>
          <ac:spMkLst>
            <pc:docMk/>
            <pc:sldMk cId="1839802865" sldId="2141412079"/>
            <ac:spMk id="13" creationId="{00000000-0000-0000-0000-000000000000}"/>
          </ac:spMkLst>
        </pc:spChg>
        <pc:spChg chg="del mod">
          <ac:chgData name="Shannon, Patrick (EOED)" userId="d91511b2-03db-4234-a1a6-1fe33e63200b" providerId="ADAL" clId="{2CAD2F15-E6CA-41AC-9065-CA602B0B8BED}" dt="2023-11-06T14:48:06.400" v="541" actId="478"/>
          <ac:spMkLst>
            <pc:docMk/>
            <pc:sldMk cId="1839802865" sldId="2141412079"/>
            <ac:spMk id="14" creationId="{00000000-0000-0000-0000-000000000000}"/>
          </ac:spMkLst>
        </pc:spChg>
        <pc:spChg chg="add mod">
          <ac:chgData name="Shannon, Patrick (EOED)" userId="d91511b2-03db-4234-a1a6-1fe33e63200b" providerId="ADAL" clId="{2CAD2F15-E6CA-41AC-9065-CA602B0B8BED}" dt="2023-11-20T16:10:10.668" v="3818" actId="20577"/>
          <ac:spMkLst>
            <pc:docMk/>
            <pc:sldMk cId="1839802865" sldId="2141412079"/>
            <ac:spMk id="15" creationId="{5DACBF68-A759-4F00-AFCF-3F9E0746D382}"/>
          </ac:spMkLst>
        </pc:spChg>
        <pc:grpChg chg="mod">
          <ac:chgData name="Shannon, Patrick (EOED)" userId="d91511b2-03db-4234-a1a6-1fe33e63200b" providerId="ADAL" clId="{2CAD2F15-E6CA-41AC-9065-CA602B0B8BED}" dt="2023-11-06T14:56:47.202" v="1165" actId="1076"/>
          <ac:grpSpMkLst>
            <pc:docMk/>
            <pc:sldMk cId="1839802865" sldId="2141412079"/>
            <ac:grpSpMk id="5" creationId="{00000000-0000-0000-0000-000000000000}"/>
          </ac:grpSpMkLst>
        </pc:grpChg>
        <pc:picChg chg="mod">
          <ac:chgData name="Shannon, Patrick (EOED)" userId="d91511b2-03db-4234-a1a6-1fe33e63200b" providerId="ADAL" clId="{2CAD2F15-E6CA-41AC-9065-CA602B0B8BED}" dt="2023-11-06T14:56:47.202" v="1165" actId="1076"/>
          <ac:picMkLst>
            <pc:docMk/>
            <pc:sldMk cId="1839802865" sldId="2141412079"/>
            <ac:picMk id="8" creationId="{00000000-0000-0000-0000-000000000000}"/>
          </ac:picMkLst>
        </pc:picChg>
      </pc:sldChg>
      <pc:sldChg chg="modSp del mod">
        <pc:chgData name="Shannon, Patrick (EOED)" userId="d91511b2-03db-4234-a1a6-1fe33e63200b" providerId="ADAL" clId="{2CAD2F15-E6CA-41AC-9065-CA602B0B8BED}" dt="2023-11-09T16:47:04.249" v="3434" actId="47"/>
        <pc:sldMkLst>
          <pc:docMk/>
          <pc:sldMk cId="510611349" sldId="2141412267"/>
        </pc:sldMkLst>
        <pc:spChg chg="mod">
          <ac:chgData name="Shannon, Patrick (EOED)" userId="d91511b2-03db-4234-a1a6-1fe33e63200b" providerId="ADAL" clId="{2CAD2F15-E6CA-41AC-9065-CA602B0B8BED}" dt="2023-11-08T15:57:34.308" v="2528" actId="6549"/>
          <ac:spMkLst>
            <pc:docMk/>
            <pc:sldMk cId="510611349" sldId="2141412267"/>
            <ac:spMk id="3" creationId="{FF7B386A-E787-439C-9721-63BAB1B0C10D}"/>
          </ac:spMkLst>
        </pc:spChg>
      </pc:sldChg>
      <pc:sldChg chg="modSp del mod ord">
        <pc:chgData name="Shannon, Patrick (EOED)" userId="d91511b2-03db-4234-a1a6-1fe33e63200b" providerId="ADAL" clId="{2CAD2F15-E6CA-41AC-9065-CA602B0B8BED}" dt="2023-11-08T15:50:33.018" v="2501" actId="47"/>
        <pc:sldMkLst>
          <pc:docMk/>
          <pc:sldMk cId="2169145664" sldId="2141412268"/>
        </pc:sldMkLst>
        <pc:spChg chg="mod">
          <ac:chgData name="Shannon, Patrick (EOED)" userId="d91511b2-03db-4234-a1a6-1fe33e63200b" providerId="ADAL" clId="{2CAD2F15-E6CA-41AC-9065-CA602B0B8BED}" dt="2023-11-06T15:43:43.836" v="1383" actId="20577"/>
          <ac:spMkLst>
            <pc:docMk/>
            <pc:sldMk cId="2169145664" sldId="2141412268"/>
            <ac:spMk id="2" creationId="{4585CF5D-4E2B-4A4D-A032-A797DE9BC492}"/>
          </ac:spMkLst>
        </pc:spChg>
        <pc:spChg chg="mod">
          <ac:chgData name="Shannon, Patrick (EOED)" userId="d91511b2-03db-4234-a1a6-1fe33e63200b" providerId="ADAL" clId="{2CAD2F15-E6CA-41AC-9065-CA602B0B8BED}" dt="2023-11-08T15:49:06.134" v="2409" actId="6549"/>
          <ac:spMkLst>
            <pc:docMk/>
            <pc:sldMk cId="2169145664" sldId="2141412268"/>
            <ac:spMk id="3" creationId="{E3E6AABC-5F61-4E1A-A4C3-0A52FDF0D3FB}"/>
          </ac:spMkLst>
        </pc:spChg>
      </pc:sldChg>
      <pc:sldChg chg="add del">
        <pc:chgData name="Shannon, Patrick (EOED)" userId="d91511b2-03db-4234-a1a6-1fe33e63200b" providerId="ADAL" clId="{2CAD2F15-E6CA-41AC-9065-CA602B0B8BED}" dt="2023-11-06T15:40:39.727" v="1344" actId="47"/>
        <pc:sldMkLst>
          <pc:docMk/>
          <pc:sldMk cId="429697182" sldId="2141412269"/>
        </pc:sldMkLst>
      </pc:sldChg>
      <pc:sldChg chg="addSp delSp modSp add del mod ord">
        <pc:chgData name="Shannon, Patrick (EOED)" userId="d91511b2-03db-4234-a1a6-1fe33e63200b" providerId="ADAL" clId="{2CAD2F15-E6CA-41AC-9065-CA602B0B8BED}" dt="2023-11-09T15:48:53.819" v="2590" actId="20577"/>
        <pc:sldMkLst>
          <pc:docMk/>
          <pc:sldMk cId="1548371706" sldId="2141412270"/>
        </pc:sldMkLst>
        <pc:spChg chg="mod">
          <ac:chgData name="Shannon, Patrick (EOED)" userId="d91511b2-03db-4234-a1a6-1fe33e63200b" providerId="ADAL" clId="{2CAD2F15-E6CA-41AC-9065-CA602B0B8BED}" dt="2023-11-09T15:48:53.819" v="2590" actId="20577"/>
          <ac:spMkLst>
            <pc:docMk/>
            <pc:sldMk cId="1548371706" sldId="2141412270"/>
            <ac:spMk id="2" creationId="{4585CF5D-4E2B-4A4D-A032-A797DE9BC492}"/>
          </ac:spMkLst>
        </pc:spChg>
        <pc:spChg chg="del mod">
          <ac:chgData name="Shannon, Patrick (EOED)" userId="d91511b2-03db-4234-a1a6-1fe33e63200b" providerId="ADAL" clId="{2CAD2F15-E6CA-41AC-9065-CA602B0B8BED}" dt="2023-11-08T16:57:06.945" v="2537" actId="478"/>
          <ac:spMkLst>
            <pc:docMk/>
            <pc:sldMk cId="1548371706" sldId="2141412270"/>
            <ac:spMk id="3" creationId="{E3E6AABC-5F61-4E1A-A4C3-0A52FDF0D3FB}"/>
          </ac:spMkLst>
        </pc:spChg>
        <pc:spChg chg="add del mod">
          <ac:chgData name="Shannon, Patrick (EOED)" userId="d91511b2-03db-4234-a1a6-1fe33e63200b" providerId="ADAL" clId="{2CAD2F15-E6CA-41AC-9065-CA602B0B8BED}" dt="2023-11-08T16:57:08.986" v="2538" actId="478"/>
          <ac:spMkLst>
            <pc:docMk/>
            <pc:sldMk cId="1548371706" sldId="2141412270"/>
            <ac:spMk id="5" creationId="{B1C8E1F0-2DF5-4041-A3F8-961038D3DA65}"/>
          </ac:spMkLst>
        </pc:spChg>
        <pc:spChg chg="add mod">
          <ac:chgData name="Shannon, Patrick (EOED)" userId="d91511b2-03db-4234-a1a6-1fe33e63200b" providerId="ADAL" clId="{2CAD2F15-E6CA-41AC-9065-CA602B0B8BED}" dt="2023-11-08T16:57:59.371" v="2552" actId="1076"/>
          <ac:spMkLst>
            <pc:docMk/>
            <pc:sldMk cId="1548371706" sldId="2141412270"/>
            <ac:spMk id="6" creationId="{4006B415-731A-4D0B-B6DC-353F021653FB}"/>
          </ac:spMkLst>
        </pc:spChg>
        <pc:graphicFrameChg chg="add mod modGraphic">
          <ac:chgData name="Shannon, Patrick (EOED)" userId="d91511b2-03db-4234-a1a6-1fe33e63200b" providerId="ADAL" clId="{2CAD2F15-E6CA-41AC-9065-CA602B0B8BED}" dt="2023-11-08T17:05:09.501" v="2562" actId="2062"/>
          <ac:graphicFrameMkLst>
            <pc:docMk/>
            <pc:sldMk cId="1548371706" sldId="2141412270"/>
            <ac:graphicFrameMk id="7" creationId="{0FA3BC8B-A4EA-49CA-9241-F3F36C3E6D55}"/>
          </ac:graphicFrameMkLst>
        </pc:graphicFrameChg>
        <pc:picChg chg="add del mod">
          <ac:chgData name="Shannon, Patrick (EOED)" userId="d91511b2-03db-4234-a1a6-1fe33e63200b" providerId="ADAL" clId="{2CAD2F15-E6CA-41AC-9065-CA602B0B8BED}" dt="2023-11-06T20:32:46.274" v="1661" actId="478"/>
          <ac:picMkLst>
            <pc:docMk/>
            <pc:sldMk cId="1548371706" sldId="2141412270"/>
            <ac:picMk id="5" creationId="{B109ECE5-3167-4850-8FEB-003ED09EFC8B}"/>
          </ac:picMkLst>
        </pc:picChg>
      </pc:sldChg>
      <pc:sldChg chg="addSp delSp modSp mod ord">
        <pc:chgData name="Shannon, Patrick (EOED)" userId="d91511b2-03db-4234-a1a6-1fe33e63200b" providerId="ADAL" clId="{2CAD2F15-E6CA-41AC-9065-CA602B0B8BED}" dt="2023-11-20T15:55:27.364" v="3512" actId="6549"/>
        <pc:sldMkLst>
          <pc:docMk/>
          <pc:sldMk cId="2929245209" sldId="2141412274"/>
        </pc:sldMkLst>
        <pc:spChg chg="mod">
          <ac:chgData name="Shannon, Patrick (EOED)" userId="d91511b2-03db-4234-a1a6-1fe33e63200b" providerId="ADAL" clId="{2CAD2F15-E6CA-41AC-9065-CA602B0B8BED}" dt="2023-11-08T15:17:32.025" v="2352" actId="20577"/>
          <ac:spMkLst>
            <pc:docMk/>
            <pc:sldMk cId="2929245209" sldId="2141412274"/>
            <ac:spMk id="2" creationId="{464F11FE-4204-4A70-8CA8-BAEE37145335}"/>
          </ac:spMkLst>
        </pc:spChg>
        <pc:spChg chg="mod">
          <ac:chgData name="Shannon, Patrick (EOED)" userId="d91511b2-03db-4234-a1a6-1fe33e63200b" providerId="ADAL" clId="{2CAD2F15-E6CA-41AC-9065-CA602B0B8BED}" dt="2023-11-20T15:55:27.364" v="3512" actId="6549"/>
          <ac:spMkLst>
            <pc:docMk/>
            <pc:sldMk cId="2929245209" sldId="2141412274"/>
            <ac:spMk id="3" creationId="{13906930-6117-4737-88DB-3F58B32B1D4D}"/>
          </ac:spMkLst>
        </pc:spChg>
        <pc:graphicFrameChg chg="add del mod">
          <ac:chgData name="Shannon, Patrick (EOED)" userId="d91511b2-03db-4234-a1a6-1fe33e63200b" providerId="ADAL" clId="{2CAD2F15-E6CA-41AC-9065-CA602B0B8BED}" dt="2023-11-08T17:04:27.319" v="2557"/>
          <ac:graphicFrameMkLst>
            <pc:docMk/>
            <pc:sldMk cId="2929245209" sldId="2141412274"/>
            <ac:graphicFrameMk id="4" creationId="{D71695D6-7210-4003-9B3D-5421CBE63DC7}"/>
          </ac:graphicFrameMkLst>
        </pc:graphicFrameChg>
        <pc:graphicFrameChg chg="add del mod">
          <ac:chgData name="Shannon, Patrick (EOED)" userId="d91511b2-03db-4234-a1a6-1fe33e63200b" providerId="ADAL" clId="{2CAD2F15-E6CA-41AC-9065-CA602B0B8BED}" dt="2023-11-08T17:04:31.805" v="2559"/>
          <ac:graphicFrameMkLst>
            <pc:docMk/>
            <pc:sldMk cId="2929245209" sldId="2141412274"/>
            <ac:graphicFrameMk id="5" creationId="{FDF75F75-F35B-4D55-B9B1-677687E6FBC3}"/>
          </ac:graphicFrameMkLst>
        </pc:graphicFrameChg>
      </pc:sldChg>
      <pc:sldChg chg="modSp del mod ord">
        <pc:chgData name="Shannon, Patrick (EOED)" userId="d91511b2-03db-4234-a1a6-1fe33e63200b" providerId="ADAL" clId="{2CAD2F15-E6CA-41AC-9065-CA602B0B8BED}" dt="2023-11-08T15:47:37.652" v="2407" actId="47"/>
        <pc:sldMkLst>
          <pc:docMk/>
          <pc:sldMk cId="3394780795" sldId="2141412275"/>
        </pc:sldMkLst>
        <pc:spChg chg="mod">
          <ac:chgData name="Shannon, Patrick (EOED)" userId="d91511b2-03db-4234-a1a6-1fe33e63200b" providerId="ADAL" clId="{2CAD2F15-E6CA-41AC-9065-CA602B0B8BED}" dt="2023-11-08T14:00:11.857" v="2331" actId="6549"/>
          <ac:spMkLst>
            <pc:docMk/>
            <pc:sldMk cId="3394780795" sldId="2141412275"/>
            <ac:spMk id="3" creationId="{E3E6AABC-5F61-4E1A-A4C3-0A52FDF0D3FB}"/>
          </ac:spMkLst>
        </pc:spChg>
      </pc:sldChg>
      <pc:sldChg chg="addSp delSp modSp mod ord">
        <pc:chgData name="Shannon, Patrick (EOED)" userId="d91511b2-03db-4234-a1a6-1fe33e63200b" providerId="ADAL" clId="{2CAD2F15-E6CA-41AC-9065-CA602B0B8BED}" dt="2023-11-20T16:02:39.734" v="3714" actId="20577"/>
        <pc:sldMkLst>
          <pc:docMk/>
          <pc:sldMk cId="3322238781" sldId="2141412276"/>
        </pc:sldMkLst>
        <pc:spChg chg="mod">
          <ac:chgData name="Shannon, Patrick (EOED)" userId="d91511b2-03db-4234-a1a6-1fe33e63200b" providerId="ADAL" clId="{2CAD2F15-E6CA-41AC-9065-CA602B0B8BED}" dt="2023-11-20T16:02:39.734" v="3714" actId="20577"/>
          <ac:spMkLst>
            <pc:docMk/>
            <pc:sldMk cId="3322238781" sldId="2141412276"/>
            <ac:spMk id="2" creationId="{4585CF5D-4E2B-4A4D-A032-A797DE9BC492}"/>
          </ac:spMkLst>
        </pc:spChg>
        <pc:spChg chg="del mod">
          <ac:chgData name="Shannon, Patrick (EOED)" userId="d91511b2-03db-4234-a1a6-1fe33e63200b" providerId="ADAL" clId="{2CAD2F15-E6CA-41AC-9065-CA602B0B8BED}" dt="2023-11-06T20:35:02.577" v="1720" actId="3680"/>
          <ac:spMkLst>
            <pc:docMk/>
            <pc:sldMk cId="3322238781" sldId="2141412276"/>
            <ac:spMk id="3" creationId="{E3E6AABC-5F61-4E1A-A4C3-0A52FDF0D3FB}"/>
          </ac:spMkLst>
        </pc:spChg>
        <pc:spChg chg="add del mod">
          <ac:chgData name="Shannon, Patrick (EOED)" userId="d91511b2-03db-4234-a1a6-1fe33e63200b" providerId="ADAL" clId="{2CAD2F15-E6CA-41AC-9065-CA602B0B8BED}" dt="2023-11-06T20:37:21.133" v="1778" actId="478"/>
          <ac:spMkLst>
            <pc:docMk/>
            <pc:sldMk cId="3322238781" sldId="2141412276"/>
            <ac:spMk id="7" creationId="{E489D621-B434-410E-AD5E-F78FB27299AB}"/>
          </ac:spMkLst>
        </pc:spChg>
        <pc:graphicFrameChg chg="add del mod">
          <ac:chgData name="Shannon, Patrick (EOED)" userId="d91511b2-03db-4234-a1a6-1fe33e63200b" providerId="ADAL" clId="{2CAD2F15-E6CA-41AC-9065-CA602B0B8BED}" dt="2023-11-06T15:44:37.447" v="1385"/>
          <ac:graphicFrameMkLst>
            <pc:docMk/>
            <pc:sldMk cId="3322238781" sldId="2141412276"/>
            <ac:graphicFrameMk id="4" creationId="{21AEB5CD-CE49-4546-8FB8-DC2BA86AE3B9}"/>
          </ac:graphicFrameMkLst>
        </pc:graphicFrameChg>
        <pc:graphicFrameChg chg="add del mod ord modGraphic">
          <ac:chgData name="Shannon, Patrick (EOED)" userId="d91511b2-03db-4234-a1a6-1fe33e63200b" providerId="ADAL" clId="{2CAD2F15-E6CA-41AC-9065-CA602B0B8BED}" dt="2023-11-06T20:37:18.697" v="1777" actId="478"/>
          <ac:graphicFrameMkLst>
            <pc:docMk/>
            <pc:sldMk cId="3322238781" sldId="2141412276"/>
            <ac:graphicFrameMk id="5" creationId="{644F1E60-1BEB-4589-A4FF-6736DCA08CB0}"/>
          </ac:graphicFrameMkLst>
        </pc:graphicFrameChg>
        <pc:graphicFrameChg chg="add mod modGraphic">
          <ac:chgData name="Shannon, Patrick (EOED)" userId="d91511b2-03db-4234-a1a6-1fe33e63200b" providerId="ADAL" clId="{2CAD2F15-E6CA-41AC-9065-CA602B0B8BED}" dt="2023-11-20T16:01:46.490" v="3705" actId="20577"/>
          <ac:graphicFrameMkLst>
            <pc:docMk/>
            <pc:sldMk cId="3322238781" sldId="2141412276"/>
            <ac:graphicFrameMk id="8" creationId="{983CC68F-383A-4E59-ACB9-3E79B9607891}"/>
          </ac:graphicFrameMkLst>
        </pc:graphicFrameChg>
      </pc:sldChg>
      <pc:sldChg chg="add del">
        <pc:chgData name="Shannon, Patrick (EOED)" userId="d91511b2-03db-4234-a1a6-1fe33e63200b" providerId="ADAL" clId="{2CAD2F15-E6CA-41AC-9065-CA602B0B8BED}" dt="2023-11-06T15:44:58.783" v="1404" actId="47"/>
        <pc:sldMkLst>
          <pc:docMk/>
          <pc:sldMk cId="4056495457" sldId="2141412277"/>
        </pc:sldMkLst>
      </pc:sldChg>
      <pc:sldChg chg="modSp add mod">
        <pc:chgData name="Shannon, Patrick (EOED)" userId="d91511b2-03db-4234-a1a6-1fe33e63200b" providerId="ADAL" clId="{2CAD2F15-E6CA-41AC-9065-CA602B0B8BED}" dt="2023-11-08T13:59:32.233" v="2328" actId="20577"/>
        <pc:sldMkLst>
          <pc:docMk/>
          <pc:sldMk cId="814654996" sldId="2141412278"/>
        </pc:sldMkLst>
        <pc:spChg chg="mod">
          <ac:chgData name="Shannon, Patrick (EOED)" userId="d91511b2-03db-4234-a1a6-1fe33e63200b" providerId="ADAL" clId="{2CAD2F15-E6CA-41AC-9065-CA602B0B8BED}" dt="2023-11-08T13:59:32.233" v="2328" actId="20577"/>
          <ac:spMkLst>
            <pc:docMk/>
            <pc:sldMk cId="814654996" sldId="2141412278"/>
            <ac:spMk id="3" creationId="{E3E6AABC-5F61-4E1A-A4C3-0A52FDF0D3FB}"/>
          </ac:spMkLst>
        </pc:spChg>
      </pc:sldChg>
      <pc:sldChg chg="addSp delSp modSp add mod ord">
        <pc:chgData name="Shannon, Patrick (EOED)" userId="d91511b2-03db-4234-a1a6-1fe33e63200b" providerId="ADAL" clId="{2CAD2F15-E6CA-41AC-9065-CA602B0B8BED}" dt="2023-11-20T15:56:33.018" v="3565" actId="20577"/>
        <pc:sldMkLst>
          <pc:docMk/>
          <pc:sldMk cId="983188552" sldId="2141412280"/>
        </pc:sldMkLst>
        <pc:spChg chg="del">
          <ac:chgData name="Shannon, Patrick (EOED)" userId="d91511b2-03db-4234-a1a6-1fe33e63200b" providerId="ADAL" clId="{2CAD2F15-E6CA-41AC-9065-CA602B0B8BED}" dt="2023-11-06T20:21:54.051" v="1439" actId="478"/>
          <ac:spMkLst>
            <pc:docMk/>
            <pc:sldMk cId="983188552" sldId="2141412280"/>
            <ac:spMk id="2" creationId="{4CE71F2B-38D6-4B76-8411-A069BF6D57E4}"/>
          </ac:spMkLst>
        </pc:spChg>
        <pc:spChg chg="add del mod">
          <ac:chgData name="Shannon, Patrick (EOED)" userId="d91511b2-03db-4234-a1a6-1fe33e63200b" providerId="ADAL" clId="{2CAD2F15-E6CA-41AC-9065-CA602B0B8BED}" dt="2023-11-06T20:21:56.908" v="1440" actId="478"/>
          <ac:spMkLst>
            <pc:docMk/>
            <pc:sldMk cId="983188552" sldId="2141412280"/>
            <ac:spMk id="4" creationId="{CE77ACB5-48C5-4965-97B6-D1084AE97D5C}"/>
          </ac:spMkLst>
        </pc:spChg>
        <pc:spChg chg="add mod">
          <ac:chgData name="Shannon, Patrick (EOED)" userId="d91511b2-03db-4234-a1a6-1fe33e63200b" providerId="ADAL" clId="{2CAD2F15-E6CA-41AC-9065-CA602B0B8BED}" dt="2023-11-20T15:56:33.018" v="3565" actId="20577"/>
          <ac:spMkLst>
            <pc:docMk/>
            <pc:sldMk cId="983188552" sldId="2141412280"/>
            <ac:spMk id="6" creationId="{6F0772BF-7857-46D5-8BBB-054A180A9AC9}"/>
          </ac:spMkLst>
        </pc:spChg>
        <pc:spChg chg="add mod">
          <ac:chgData name="Shannon, Patrick (EOED)" userId="d91511b2-03db-4234-a1a6-1fe33e63200b" providerId="ADAL" clId="{2CAD2F15-E6CA-41AC-9065-CA602B0B8BED}" dt="2023-11-20T15:56:16.089" v="3557" actId="1076"/>
          <ac:spMkLst>
            <pc:docMk/>
            <pc:sldMk cId="983188552" sldId="2141412280"/>
            <ac:spMk id="7" creationId="{5E9820EC-76DE-4F23-B392-30C90ABEE4D8}"/>
          </ac:spMkLst>
        </pc:spChg>
        <pc:graphicFrameChg chg="mod modGraphic">
          <ac:chgData name="Shannon, Patrick (EOED)" userId="d91511b2-03db-4234-a1a6-1fe33e63200b" providerId="ADAL" clId="{2CAD2F15-E6CA-41AC-9065-CA602B0B8BED}" dt="2023-11-06T20:29:53.806" v="1649" actId="948"/>
          <ac:graphicFrameMkLst>
            <pc:docMk/>
            <pc:sldMk cId="983188552" sldId="2141412280"/>
            <ac:graphicFrameMk id="5" creationId="{267E5DA3-0C90-45E4-8C8F-A3E25140ACE5}"/>
          </ac:graphicFrameMkLst>
        </pc:graphicFrameChg>
      </pc:sldChg>
      <pc:sldChg chg="addSp delSp modSp add del mod">
        <pc:chgData name="Shannon, Patrick (EOED)" userId="d91511b2-03db-4234-a1a6-1fe33e63200b" providerId="ADAL" clId="{2CAD2F15-E6CA-41AC-9065-CA602B0B8BED}" dt="2023-11-09T15:47:11.453" v="2566" actId="47"/>
        <pc:sldMkLst>
          <pc:docMk/>
          <pc:sldMk cId="1503277058" sldId="2141412281"/>
        </pc:sldMkLst>
        <pc:spChg chg="mod">
          <ac:chgData name="Shannon, Patrick (EOED)" userId="d91511b2-03db-4234-a1a6-1fe33e63200b" providerId="ADAL" clId="{2CAD2F15-E6CA-41AC-9065-CA602B0B8BED}" dt="2023-11-06T20:34:29.713" v="1715" actId="20577"/>
          <ac:spMkLst>
            <pc:docMk/>
            <pc:sldMk cId="1503277058" sldId="2141412281"/>
            <ac:spMk id="2" creationId="{4585CF5D-4E2B-4A4D-A032-A797DE9BC492}"/>
          </ac:spMkLst>
        </pc:spChg>
        <pc:spChg chg="del mod">
          <ac:chgData name="Shannon, Patrick (EOED)" userId="d91511b2-03db-4234-a1a6-1fe33e63200b" providerId="ADAL" clId="{2CAD2F15-E6CA-41AC-9065-CA602B0B8BED}" dt="2023-11-08T16:57:00.275" v="2534" actId="478"/>
          <ac:spMkLst>
            <pc:docMk/>
            <pc:sldMk cId="1503277058" sldId="2141412281"/>
            <ac:spMk id="3" creationId="{E3E6AABC-5F61-4E1A-A4C3-0A52FDF0D3FB}"/>
          </ac:spMkLst>
        </pc:spChg>
        <pc:spChg chg="add del mod">
          <ac:chgData name="Shannon, Patrick (EOED)" userId="d91511b2-03db-4234-a1a6-1fe33e63200b" providerId="ADAL" clId="{2CAD2F15-E6CA-41AC-9065-CA602B0B8BED}" dt="2023-11-08T16:57:03.148" v="2536" actId="478"/>
          <ac:spMkLst>
            <pc:docMk/>
            <pc:sldMk cId="1503277058" sldId="2141412281"/>
            <ac:spMk id="5" creationId="{A1AA51A1-4903-41F1-8079-96024F4CBD4B}"/>
          </ac:spMkLst>
        </pc:spChg>
        <pc:spChg chg="mod">
          <ac:chgData name="Shannon, Patrick (EOED)" userId="d91511b2-03db-4234-a1a6-1fe33e63200b" providerId="ADAL" clId="{2CAD2F15-E6CA-41AC-9065-CA602B0B8BED}" dt="2023-11-08T16:57:53.899" v="2551" actId="1076"/>
          <ac:spMkLst>
            <pc:docMk/>
            <pc:sldMk cId="1503277058" sldId="2141412281"/>
            <ac:spMk id="6" creationId="{4006B415-731A-4D0B-B6DC-353F021653FB}"/>
          </ac:spMkLst>
        </pc:spChg>
        <pc:graphicFrameChg chg="add mod modGraphic">
          <ac:chgData name="Shannon, Patrick (EOED)" userId="d91511b2-03db-4234-a1a6-1fe33e63200b" providerId="ADAL" clId="{2CAD2F15-E6CA-41AC-9065-CA602B0B8BED}" dt="2023-11-08T17:05:12.934" v="2563" actId="2062"/>
          <ac:graphicFrameMkLst>
            <pc:docMk/>
            <pc:sldMk cId="1503277058" sldId="2141412281"/>
            <ac:graphicFrameMk id="7" creationId="{D6D58FFD-DFFF-42E9-A3E3-1FAE542C0EB1}"/>
          </ac:graphicFrameMkLst>
        </pc:graphicFrameChg>
      </pc:sldChg>
      <pc:sldChg chg="addSp delSp modSp add del mod">
        <pc:chgData name="Shannon, Patrick (EOED)" userId="d91511b2-03db-4234-a1a6-1fe33e63200b" providerId="ADAL" clId="{2CAD2F15-E6CA-41AC-9065-CA602B0B8BED}" dt="2023-11-09T15:47:12.856" v="2567" actId="47"/>
        <pc:sldMkLst>
          <pc:docMk/>
          <pc:sldMk cId="2784085136" sldId="2141412282"/>
        </pc:sldMkLst>
        <pc:spChg chg="mod">
          <ac:chgData name="Shannon, Patrick (EOED)" userId="d91511b2-03db-4234-a1a6-1fe33e63200b" providerId="ADAL" clId="{2CAD2F15-E6CA-41AC-9065-CA602B0B8BED}" dt="2023-11-06T20:34:34.010" v="1718" actId="20577"/>
          <ac:spMkLst>
            <pc:docMk/>
            <pc:sldMk cId="2784085136" sldId="2141412282"/>
            <ac:spMk id="2" creationId="{4585CF5D-4E2B-4A4D-A032-A797DE9BC492}"/>
          </ac:spMkLst>
        </pc:spChg>
        <pc:spChg chg="del mod">
          <ac:chgData name="Shannon, Patrick (EOED)" userId="d91511b2-03db-4234-a1a6-1fe33e63200b" providerId="ADAL" clId="{2CAD2F15-E6CA-41AC-9065-CA602B0B8BED}" dt="2023-11-08T16:56:48.950" v="2529" actId="478"/>
          <ac:spMkLst>
            <pc:docMk/>
            <pc:sldMk cId="2784085136" sldId="2141412282"/>
            <ac:spMk id="3" creationId="{E3E6AABC-5F61-4E1A-A4C3-0A52FDF0D3FB}"/>
          </ac:spMkLst>
        </pc:spChg>
        <pc:spChg chg="add del mod">
          <ac:chgData name="Shannon, Patrick (EOED)" userId="d91511b2-03db-4234-a1a6-1fe33e63200b" providerId="ADAL" clId="{2CAD2F15-E6CA-41AC-9065-CA602B0B8BED}" dt="2023-11-08T16:56:51.841" v="2531" actId="478"/>
          <ac:spMkLst>
            <pc:docMk/>
            <pc:sldMk cId="2784085136" sldId="2141412282"/>
            <ac:spMk id="5" creationId="{E42CCB64-C48E-4D09-AF22-92E53EE0564F}"/>
          </ac:spMkLst>
        </pc:spChg>
        <pc:spChg chg="mod">
          <ac:chgData name="Shannon, Patrick (EOED)" userId="d91511b2-03db-4234-a1a6-1fe33e63200b" providerId="ADAL" clId="{2CAD2F15-E6CA-41AC-9065-CA602B0B8BED}" dt="2023-11-08T16:57:51.058" v="2550" actId="1076"/>
          <ac:spMkLst>
            <pc:docMk/>
            <pc:sldMk cId="2784085136" sldId="2141412282"/>
            <ac:spMk id="6" creationId="{4006B415-731A-4D0B-B6DC-353F021653FB}"/>
          </ac:spMkLst>
        </pc:spChg>
        <pc:graphicFrameChg chg="add mod modGraphic">
          <ac:chgData name="Shannon, Patrick (EOED)" userId="d91511b2-03db-4234-a1a6-1fe33e63200b" providerId="ADAL" clId="{2CAD2F15-E6CA-41AC-9065-CA602B0B8BED}" dt="2023-11-08T17:05:16.430" v="2564" actId="2062"/>
          <ac:graphicFrameMkLst>
            <pc:docMk/>
            <pc:sldMk cId="2784085136" sldId="2141412282"/>
            <ac:graphicFrameMk id="7" creationId="{AD0EEFDE-2AE2-4B0A-9FBE-564E84778E4F}"/>
          </ac:graphicFrameMkLst>
        </pc:graphicFrameChg>
      </pc:sldChg>
      <pc:sldChg chg="add">
        <pc:chgData name="Shannon, Patrick (EOED)" userId="d91511b2-03db-4234-a1a6-1fe33e63200b" providerId="ADAL" clId="{2CAD2F15-E6CA-41AC-9065-CA602B0B8BED}" dt="2023-11-09T16:20:20.019" v="2591"/>
        <pc:sldMkLst>
          <pc:docMk/>
          <pc:sldMk cId="1567911057" sldId="2141412283"/>
        </pc:sldMkLst>
      </pc:sldChg>
      <pc:sldChg chg="modSp add mod ord">
        <pc:chgData name="Shannon, Patrick (EOED)" userId="d91511b2-03db-4234-a1a6-1fe33e63200b" providerId="ADAL" clId="{2CAD2F15-E6CA-41AC-9065-CA602B0B8BED}" dt="2023-11-20T16:02:17.664" v="3707" actId="20577"/>
        <pc:sldMkLst>
          <pc:docMk/>
          <pc:sldMk cId="3825862596" sldId="2141412284"/>
        </pc:sldMkLst>
        <pc:graphicFrameChg chg="mod modGraphic">
          <ac:chgData name="Shannon, Patrick (EOED)" userId="d91511b2-03db-4234-a1a6-1fe33e63200b" providerId="ADAL" clId="{2CAD2F15-E6CA-41AC-9065-CA602B0B8BED}" dt="2023-11-20T16:02:17.664" v="3707" actId="20577"/>
          <ac:graphicFrameMkLst>
            <pc:docMk/>
            <pc:sldMk cId="3825862596" sldId="2141412284"/>
            <ac:graphicFrameMk id="4" creationId="{13538A0A-A7A9-4441-A99B-48E577B1ACB5}"/>
          </ac:graphicFrameMkLst>
        </pc:graphicFrameChg>
      </pc:sldChg>
      <pc:sldChg chg="modSp add del mod">
        <pc:chgData name="Shannon, Patrick (EOED)" userId="d91511b2-03db-4234-a1a6-1fe33e63200b" providerId="ADAL" clId="{2CAD2F15-E6CA-41AC-9065-CA602B0B8BED}" dt="2023-11-08T17:04:38.788" v="2561" actId="47"/>
        <pc:sldMkLst>
          <pc:docMk/>
          <pc:sldMk cId="1712119100" sldId="2141412285"/>
        </pc:sldMkLst>
        <pc:graphicFrameChg chg="mod">
          <ac:chgData name="Shannon, Patrick (EOED)" userId="d91511b2-03db-4234-a1a6-1fe33e63200b" providerId="ADAL" clId="{2CAD2F15-E6CA-41AC-9065-CA602B0B8BED}" dt="2023-11-08T15:55:15.622" v="2524" actId="1076"/>
          <ac:graphicFrameMkLst>
            <pc:docMk/>
            <pc:sldMk cId="1712119100" sldId="2141412285"/>
            <ac:graphicFrameMk id="5" creationId="{6A658386-8272-4917-AC28-3DFE1A03B1E2}"/>
          </ac:graphicFrameMkLst>
        </pc:graphicFrameChg>
      </pc:sldChg>
      <pc:sldChg chg="addSp delSp modSp new del mod">
        <pc:chgData name="Shannon, Patrick (EOED)" userId="d91511b2-03db-4234-a1a6-1fe33e63200b" providerId="ADAL" clId="{2CAD2F15-E6CA-41AC-9065-CA602B0B8BED}" dt="2023-11-09T16:20:22.416" v="2592" actId="47"/>
        <pc:sldMkLst>
          <pc:docMk/>
          <pc:sldMk cId="566070989" sldId="2141412286"/>
        </pc:sldMkLst>
        <pc:spChg chg="mod">
          <ac:chgData name="Shannon, Patrick (EOED)" userId="d91511b2-03db-4234-a1a6-1fe33e63200b" providerId="ADAL" clId="{2CAD2F15-E6CA-41AC-9065-CA602B0B8BED}" dt="2023-11-08T15:51:02.839" v="2522" actId="20577"/>
          <ac:spMkLst>
            <pc:docMk/>
            <pc:sldMk cId="566070989" sldId="2141412286"/>
            <ac:spMk id="2" creationId="{5B355A2C-0282-4375-9521-4FD54CB852F7}"/>
          </ac:spMkLst>
        </pc:spChg>
        <pc:spChg chg="del mod">
          <ac:chgData name="Shannon, Patrick (EOED)" userId="d91511b2-03db-4234-a1a6-1fe33e63200b" providerId="ADAL" clId="{2CAD2F15-E6CA-41AC-9065-CA602B0B8BED}" dt="2023-11-08T16:58:20.817" v="2554" actId="478"/>
          <ac:spMkLst>
            <pc:docMk/>
            <pc:sldMk cId="566070989" sldId="2141412286"/>
            <ac:spMk id="3" creationId="{88F3C1BA-4A36-4A6F-B1DC-8F18C3F31292}"/>
          </ac:spMkLst>
        </pc:spChg>
        <pc:spChg chg="add mod">
          <ac:chgData name="Shannon, Patrick (EOED)" userId="d91511b2-03db-4234-a1a6-1fe33e63200b" providerId="ADAL" clId="{2CAD2F15-E6CA-41AC-9065-CA602B0B8BED}" dt="2023-11-08T16:58:21.334" v="2555"/>
          <ac:spMkLst>
            <pc:docMk/>
            <pc:sldMk cId="566070989" sldId="2141412286"/>
            <ac:spMk id="4" creationId="{68D66134-39D6-420D-93C6-701430ECFF4F}"/>
          </ac:spMkLst>
        </pc:spChg>
      </pc:sldChg>
      <pc:sldChg chg="modSp add mod ord">
        <pc:chgData name="Shannon, Patrick (EOED)" userId="d91511b2-03db-4234-a1a6-1fe33e63200b" providerId="ADAL" clId="{2CAD2F15-E6CA-41AC-9065-CA602B0B8BED}" dt="2023-11-20T15:54:44.809" v="3506"/>
        <pc:sldMkLst>
          <pc:docMk/>
          <pc:sldMk cId="502937730" sldId="2141412287"/>
        </pc:sldMkLst>
        <pc:spChg chg="mod">
          <ac:chgData name="Shannon, Patrick (EOED)" userId="d91511b2-03db-4234-a1a6-1fe33e63200b" providerId="ADAL" clId="{2CAD2F15-E6CA-41AC-9065-CA602B0B8BED}" dt="2023-11-20T15:54:23.040" v="3502" actId="20577"/>
          <ac:spMkLst>
            <pc:docMk/>
            <pc:sldMk cId="502937730" sldId="2141412287"/>
            <ac:spMk id="3" creationId="{A547D4F8-A673-45D5-BFA3-6F2E83EEC15D}"/>
          </ac:spMkLst>
        </pc:spChg>
        <pc:picChg chg="mod">
          <ac:chgData name="Shannon, Patrick (EOED)" userId="d91511b2-03db-4234-a1a6-1fe33e63200b" providerId="ADAL" clId="{2CAD2F15-E6CA-41AC-9065-CA602B0B8BED}" dt="2023-11-20T15:54:33.631" v="3504" actId="1076"/>
          <ac:picMkLst>
            <pc:docMk/>
            <pc:sldMk cId="502937730" sldId="2141412287"/>
            <ac:picMk id="4" creationId="{190455E0-332A-4349-90D5-A32CD8488E91}"/>
          </ac:picMkLst>
        </pc:picChg>
      </pc:sldChg>
      <pc:sldChg chg="modSp add mod">
        <pc:chgData name="Shannon, Patrick (EOED)" userId="d91511b2-03db-4234-a1a6-1fe33e63200b" providerId="ADAL" clId="{2CAD2F15-E6CA-41AC-9065-CA602B0B8BED}" dt="2023-11-09T15:48:42.019" v="2583" actId="20577"/>
        <pc:sldMkLst>
          <pc:docMk/>
          <pc:sldMk cId="3268649240" sldId="2141412288"/>
        </pc:sldMkLst>
        <pc:spChg chg="mod">
          <ac:chgData name="Shannon, Patrick (EOED)" userId="d91511b2-03db-4234-a1a6-1fe33e63200b" providerId="ADAL" clId="{2CAD2F15-E6CA-41AC-9065-CA602B0B8BED}" dt="2023-11-09T15:48:42.019" v="2583" actId="20577"/>
          <ac:spMkLst>
            <pc:docMk/>
            <pc:sldMk cId="3268649240" sldId="2141412288"/>
            <ac:spMk id="2" creationId="{4585CF5D-4E2B-4A4D-A032-A797DE9BC492}"/>
          </ac:spMkLst>
        </pc:spChg>
      </pc:sldChg>
      <pc:sldChg chg="modSp add mod">
        <pc:chgData name="Shannon, Patrick (EOED)" userId="d91511b2-03db-4234-a1a6-1fe33e63200b" providerId="ADAL" clId="{2CAD2F15-E6CA-41AC-9065-CA602B0B8BED}" dt="2023-11-20T16:04:31.782" v="3725" actId="20577"/>
        <pc:sldMkLst>
          <pc:docMk/>
          <pc:sldMk cId="3197768338" sldId="2141412289"/>
        </pc:sldMkLst>
        <pc:spChg chg="mod">
          <ac:chgData name="Shannon, Patrick (EOED)" userId="d91511b2-03db-4234-a1a6-1fe33e63200b" providerId="ADAL" clId="{2CAD2F15-E6CA-41AC-9065-CA602B0B8BED}" dt="2023-11-20T16:04:31.782" v="3725" actId="20577"/>
          <ac:spMkLst>
            <pc:docMk/>
            <pc:sldMk cId="3197768338" sldId="2141412289"/>
            <ac:spMk id="2" creationId="{4585CF5D-4E2B-4A4D-A032-A797DE9BC492}"/>
          </ac:spMkLst>
        </pc:spChg>
      </pc:sldChg>
      <pc:sldChg chg="addSp modSp new mod ord addCm delCm">
        <pc:chgData name="Shannon, Patrick (EOED)" userId="d91511b2-03db-4234-a1a6-1fe33e63200b" providerId="ADAL" clId="{2CAD2F15-E6CA-41AC-9065-CA602B0B8BED}" dt="2023-11-20T16:09:06.799" v="3791" actId="1076"/>
        <pc:sldMkLst>
          <pc:docMk/>
          <pc:sldMk cId="256225765" sldId="2141412290"/>
        </pc:sldMkLst>
        <pc:spChg chg="mod">
          <ac:chgData name="Shannon, Patrick (EOED)" userId="d91511b2-03db-4234-a1a6-1fe33e63200b" providerId="ADAL" clId="{2CAD2F15-E6CA-41AC-9065-CA602B0B8BED}" dt="2023-11-09T16:38:40.737" v="3396" actId="20577"/>
          <ac:spMkLst>
            <pc:docMk/>
            <pc:sldMk cId="256225765" sldId="2141412290"/>
            <ac:spMk id="2" creationId="{794A8716-F46A-4554-A90A-3F2B21150597}"/>
          </ac:spMkLst>
        </pc:spChg>
        <pc:spChg chg="mod">
          <ac:chgData name="Shannon, Patrick (EOED)" userId="d91511b2-03db-4234-a1a6-1fe33e63200b" providerId="ADAL" clId="{2CAD2F15-E6CA-41AC-9065-CA602B0B8BED}" dt="2023-11-20T16:09:01.952" v="3790" actId="20577"/>
          <ac:spMkLst>
            <pc:docMk/>
            <pc:sldMk cId="256225765" sldId="2141412290"/>
            <ac:spMk id="3" creationId="{6E5D5441-7527-4E3C-B231-49027EB0C9D5}"/>
          </ac:spMkLst>
        </pc:spChg>
        <pc:spChg chg="add mod">
          <ac:chgData name="Shannon, Patrick (EOED)" userId="d91511b2-03db-4234-a1a6-1fe33e63200b" providerId="ADAL" clId="{2CAD2F15-E6CA-41AC-9065-CA602B0B8BED}" dt="2023-11-09T16:39:37.703" v="3432" actId="1076"/>
          <ac:spMkLst>
            <pc:docMk/>
            <pc:sldMk cId="256225765" sldId="2141412290"/>
            <ac:spMk id="7" creationId="{41F41834-5133-4699-A2E2-909CB3602462}"/>
          </ac:spMkLst>
        </pc:spChg>
        <pc:graphicFrameChg chg="add mod modGraphic">
          <ac:chgData name="Shannon, Patrick (EOED)" userId="d91511b2-03db-4234-a1a6-1fe33e63200b" providerId="ADAL" clId="{2CAD2F15-E6CA-41AC-9065-CA602B0B8BED}" dt="2023-11-20T16:09:06.799" v="3791" actId="1076"/>
          <ac:graphicFrameMkLst>
            <pc:docMk/>
            <pc:sldMk cId="256225765" sldId="2141412290"/>
            <ac:graphicFrameMk id="6" creationId="{5D435308-6938-4EB1-8CB3-B0D36C42EC8A}"/>
          </ac:graphicFrameMkLst>
        </pc:graphicFrameChg>
        <pc:picChg chg="add mod">
          <ac:chgData name="Shannon, Patrick (EOED)" userId="d91511b2-03db-4234-a1a6-1fe33e63200b" providerId="ADAL" clId="{2CAD2F15-E6CA-41AC-9065-CA602B0B8BED}" dt="2023-11-09T16:34:34.537" v="3384" actId="14100"/>
          <ac:picMkLst>
            <pc:docMk/>
            <pc:sldMk cId="256225765" sldId="2141412290"/>
            <ac:picMk id="5" creationId="{B7BF3A15-B50B-44A3-85C4-CD6D6F409B23}"/>
          </ac:picMkLst>
        </pc:picChg>
      </pc:sldChg>
      <pc:sldChg chg="modSp add mod">
        <pc:chgData name="Shannon, Patrick (EOED)" userId="d91511b2-03db-4234-a1a6-1fe33e63200b" providerId="ADAL" clId="{2CAD2F15-E6CA-41AC-9065-CA602B0B8BED}" dt="2023-11-20T15:53:05.582" v="3492" actId="20578"/>
        <pc:sldMkLst>
          <pc:docMk/>
          <pc:sldMk cId="4130341927" sldId="2141412291"/>
        </pc:sldMkLst>
        <pc:spChg chg="mod">
          <ac:chgData name="Shannon, Patrick (EOED)" userId="d91511b2-03db-4234-a1a6-1fe33e63200b" providerId="ADAL" clId="{2CAD2F15-E6CA-41AC-9065-CA602B0B8BED}" dt="2023-11-20T15:53:05.582" v="3492" actId="20578"/>
          <ac:spMkLst>
            <pc:docMk/>
            <pc:sldMk cId="4130341927" sldId="2141412291"/>
            <ac:spMk id="3" creationId="{FF7B386A-E787-439C-9721-63BAB1B0C10D}"/>
          </ac:spMkLst>
        </pc:spChg>
      </pc:sldChg>
    </pc:docChg>
  </pc:docChgLst>
  <pc:docChgLst>
    <pc:chgData name="Shannon, Patrick (EOED)" userId="d91511b2-03db-4234-a1a6-1fe33e63200b" providerId="ADAL" clId="{BFB4C9D0-3B01-4981-A68E-6B7CDC0136CF}"/>
    <pc:docChg chg="custSel delSld modSld">
      <pc:chgData name="Shannon, Patrick (EOED)" userId="d91511b2-03db-4234-a1a6-1fe33e63200b" providerId="ADAL" clId="{BFB4C9D0-3B01-4981-A68E-6B7CDC0136CF}" dt="2023-12-07T18:56:07.638" v="396" actId="20577"/>
      <pc:docMkLst>
        <pc:docMk/>
      </pc:docMkLst>
      <pc:sldChg chg="modSp mod">
        <pc:chgData name="Shannon, Patrick (EOED)" userId="d91511b2-03db-4234-a1a6-1fe33e63200b" providerId="ADAL" clId="{BFB4C9D0-3B01-4981-A68E-6B7CDC0136CF}" dt="2023-12-06T21:23:46.524" v="40"/>
        <pc:sldMkLst>
          <pc:docMk/>
          <pc:sldMk cId="1548371706" sldId="2141412270"/>
        </pc:sldMkLst>
        <pc:spChg chg="mod">
          <ac:chgData name="Shannon, Patrick (EOED)" userId="d91511b2-03db-4234-a1a6-1fe33e63200b" providerId="ADAL" clId="{BFB4C9D0-3B01-4981-A68E-6B7CDC0136CF}" dt="2023-12-06T21:23:46.524" v="40"/>
          <ac:spMkLst>
            <pc:docMk/>
            <pc:sldMk cId="1548371706" sldId="2141412270"/>
            <ac:spMk id="2" creationId="{4585CF5D-4E2B-4A4D-A032-A797DE9BC492}"/>
          </ac:spMkLst>
        </pc:spChg>
      </pc:sldChg>
      <pc:sldChg chg="del">
        <pc:chgData name="Shannon, Patrick (EOED)" userId="d91511b2-03db-4234-a1a6-1fe33e63200b" providerId="ADAL" clId="{BFB4C9D0-3B01-4981-A68E-6B7CDC0136CF}" dt="2023-12-06T21:21:58.776" v="0" actId="47"/>
        <pc:sldMkLst>
          <pc:docMk/>
          <pc:sldMk cId="2929245209" sldId="2141412274"/>
        </pc:sldMkLst>
      </pc:sldChg>
      <pc:sldChg chg="modSp mod">
        <pc:chgData name="Shannon, Patrick (EOED)" userId="d91511b2-03db-4234-a1a6-1fe33e63200b" providerId="ADAL" clId="{BFB4C9D0-3B01-4981-A68E-6B7CDC0136CF}" dt="2023-12-06T21:32:59.480" v="154" actId="207"/>
        <pc:sldMkLst>
          <pc:docMk/>
          <pc:sldMk cId="3322238781" sldId="2141412276"/>
        </pc:sldMkLst>
        <pc:graphicFrameChg chg="mod modGraphic">
          <ac:chgData name="Shannon, Patrick (EOED)" userId="d91511b2-03db-4234-a1a6-1fe33e63200b" providerId="ADAL" clId="{BFB4C9D0-3B01-4981-A68E-6B7CDC0136CF}" dt="2023-12-06T21:32:59.480" v="154" actId="207"/>
          <ac:graphicFrameMkLst>
            <pc:docMk/>
            <pc:sldMk cId="3322238781" sldId="2141412276"/>
            <ac:graphicFrameMk id="8" creationId="{983CC68F-383A-4E59-ACB9-3E79B9607891}"/>
          </ac:graphicFrameMkLst>
        </pc:graphicFrameChg>
      </pc:sldChg>
      <pc:sldChg chg="modSp mod">
        <pc:chgData name="Shannon, Patrick (EOED)" userId="d91511b2-03db-4234-a1a6-1fe33e63200b" providerId="ADAL" clId="{BFB4C9D0-3B01-4981-A68E-6B7CDC0136CF}" dt="2023-12-07T18:56:07.638" v="396" actId="20577"/>
        <pc:sldMkLst>
          <pc:docMk/>
          <pc:sldMk cId="983188552" sldId="2141412280"/>
        </pc:sldMkLst>
        <pc:spChg chg="mod">
          <ac:chgData name="Shannon, Patrick (EOED)" userId="d91511b2-03db-4234-a1a6-1fe33e63200b" providerId="ADAL" clId="{BFB4C9D0-3B01-4981-A68E-6B7CDC0136CF}" dt="2023-12-07T18:51:08.278" v="160" actId="14100"/>
          <ac:spMkLst>
            <pc:docMk/>
            <pc:sldMk cId="983188552" sldId="2141412280"/>
            <ac:spMk id="7" creationId="{5E9820EC-76DE-4F23-B392-30C90ABEE4D8}"/>
          </ac:spMkLst>
        </pc:spChg>
        <pc:graphicFrameChg chg="mod modGraphic">
          <ac:chgData name="Shannon, Patrick (EOED)" userId="d91511b2-03db-4234-a1a6-1fe33e63200b" providerId="ADAL" clId="{BFB4C9D0-3B01-4981-A68E-6B7CDC0136CF}" dt="2023-12-07T18:56:07.638" v="396" actId="20577"/>
          <ac:graphicFrameMkLst>
            <pc:docMk/>
            <pc:sldMk cId="983188552" sldId="2141412280"/>
            <ac:graphicFrameMk id="5" creationId="{267E5DA3-0C90-45E4-8C8F-A3E25140ACE5}"/>
          </ac:graphicFrameMkLst>
        </pc:graphicFrameChg>
      </pc:sldChg>
      <pc:sldChg chg="modSp mod">
        <pc:chgData name="Shannon, Patrick (EOED)" userId="d91511b2-03db-4234-a1a6-1fe33e63200b" providerId="ADAL" clId="{BFB4C9D0-3B01-4981-A68E-6B7CDC0136CF}" dt="2023-12-06T21:25:18.400" v="115" actId="20577"/>
        <pc:sldMkLst>
          <pc:docMk/>
          <pc:sldMk cId="1567911057" sldId="2141412283"/>
        </pc:sldMkLst>
        <pc:spChg chg="mod">
          <ac:chgData name="Shannon, Patrick (EOED)" userId="d91511b2-03db-4234-a1a6-1fe33e63200b" providerId="ADAL" clId="{BFB4C9D0-3B01-4981-A68E-6B7CDC0136CF}" dt="2023-12-06T21:25:18.400" v="115" actId="20577"/>
          <ac:spMkLst>
            <pc:docMk/>
            <pc:sldMk cId="1567911057" sldId="2141412283"/>
            <ac:spMk id="3" creationId="{3B217499-4FFC-4C40-B035-304E62F129AF}"/>
          </ac:spMkLst>
        </pc:spChg>
      </pc:sldChg>
      <pc:sldChg chg="modSp mod">
        <pc:chgData name="Shannon, Patrick (EOED)" userId="d91511b2-03db-4234-a1a6-1fe33e63200b" providerId="ADAL" clId="{BFB4C9D0-3B01-4981-A68E-6B7CDC0136CF}" dt="2023-12-06T21:22:30.331" v="6" actId="1076"/>
        <pc:sldMkLst>
          <pc:docMk/>
          <pc:sldMk cId="3825862596" sldId="2141412284"/>
        </pc:sldMkLst>
        <pc:spChg chg="mod">
          <ac:chgData name="Shannon, Patrick (EOED)" userId="d91511b2-03db-4234-a1a6-1fe33e63200b" providerId="ADAL" clId="{BFB4C9D0-3B01-4981-A68E-6B7CDC0136CF}" dt="2023-12-06T21:22:16.410" v="4" actId="20577"/>
          <ac:spMkLst>
            <pc:docMk/>
            <pc:sldMk cId="3825862596" sldId="2141412284"/>
            <ac:spMk id="2" creationId="{9F843C95-F95B-474A-A7A6-F8FF5242919A}"/>
          </ac:spMkLst>
        </pc:spChg>
        <pc:graphicFrameChg chg="mod modGraphic">
          <ac:chgData name="Shannon, Patrick (EOED)" userId="d91511b2-03db-4234-a1a6-1fe33e63200b" providerId="ADAL" clId="{BFB4C9D0-3B01-4981-A68E-6B7CDC0136CF}" dt="2023-12-06T21:22:30.331" v="6" actId="1076"/>
          <ac:graphicFrameMkLst>
            <pc:docMk/>
            <pc:sldMk cId="3825862596" sldId="2141412284"/>
            <ac:graphicFrameMk id="4" creationId="{13538A0A-A7A9-4441-A99B-48E577B1ACB5}"/>
          </ac:graphicFrameMkLst>
        </pc:graphicFrameChg>
      </pc:sldChg>
      <pc:sldChg chg="modSp mod">
        <pc:chgData name="Shannon, Patrick (EOED)" userId="d91511b2-03db-4234-a1a6-1fe33e63200b" providerId="ADAL" clId="{BFB4C9D0-3B01-4981-A68E-6B7CDC0136CF}" dt="2023-12-06T21:32:24.057" v="153" actId="14100"/>
        <pc:sldMkLst>
          <pc:docMk/>
          <pc:sldMk cId="502937730" sldId="2141412287"/>
        </pc:sldMkLst>
        <pc:spChg chg="mod">
          <ac:chgData name="Shannon, Patrick (EOED)" userId="d91511b2-03db-4234-a1a6-1fe33e63200b" providerId="ADAL" clId="{BFB4C9D0-3B01-4981-A68E-6B7CDC0136CF}" dt="2023-12-06T21:32:24.057" v="153" actId="14100"/>
          <ac:spMkLst>
            <pc:docMk/>
            <pc:sldMk cId="502937730" sldId="2141412287"/>
            <ac:spMk id="3" creationId="{A547D4F8-A673-45D5-BFA3-6F2E83EEC15D}"/>
          </ac:spMkLst>
        </pc:spChg>
      </pc:sldChg>
      <pc:sldChg chg="modSp mod">
        <pc:chgData name="Shannon, Patrick (EOED)" userId="d91511b2-03db-4234-a1a6-1fe33e63200b" providerId="ADAL" clId="{BFB4C9D0-3B01-4981-A68E-6B7CDC0136CF}" dt="2023-12-06T21:23:45.014" v="39"/>
        <pc:sldMkLst>
          <pc:docMk/>
          <pc:sldMk cId="3268649240" sldId="2141412288"/>
        </pc:sldMkLst>
        <pc:spChg chg="mod">
          <ac:chgData name="Shannon, Patrick (EOED)" userId="d91511b2-03db-4234-a1a6-1fe33e63200b" providerId="ADAL" clId="{BFB4C9D0-3B01-4981-A68E-6B7CDC0136CF}" dt="2023-12-06T21:23:45.014" v="39"/>
          <ac:spMkLst>
            <pc:docMk/>
            <pc:sldMk cId="3268649240" sldId="2141412288"/>
            <ac:spMk id="2" creationId="{4585CF5D-4E2B-4A4D-A032-A797DE9BC492}"/>
          </ac:spMkLst>
        </pc:spChg>
      </pc:sldChg>
      <pc:sldChg chg="modSp mod">
        <pc:chgData name="Shannon, Patrick (EOED)" userId="d91511b2-03db-4234-a1a6-1fe33e63200b" providerId="ADAL" clId="{BFB4C9D0-3B01-4981-A68E-6B7CDC0136CF}" dt="2023-12-06T21:26:04.720" v="121" actId="1076"/>
        <pc:sldMkLst>
          <pc:docMk/>
          <pc:sldMk cId="256225765" sldId="2141412290"/>
        </pc:sldMkLst>
        <pc:spChg chg="mod">
          <ac:chgData name="Shannon, Patrick (EOED)" userId="d91511b2-03db-4234-a1a6-1fe33e63200b" providerId="ADAL" clId="{BFB4C9D0-3B01-4981-A68E-6B7CDC0136CF}" dt="2023-12-06T21:25:58.571" v="120" actId="255"/>
          <ac:spMkLst>
            <pc:docMk/>
            <pc:sldMk cId="256225765" sldId="2141412290"/>
            <ac:spMk id="3" creationId="{6E5D5441-7527-4E3C-B231-49027EB0C9D5}"/>
          </ac:spMkLst>
        </pc:spChg>
        <pc:graphicFrameChg chg="mod">
          <ac:chgData name="Shannon, Patrick (EOED)" userId="d91511b2-03db-4234-a1a6-1fe33e63200b" providerId="ADAL" clId="{BFB4C9D0-3B01-4981-A68E-6B7CDC0136CF}" dt="2023-12-06T21:26:04.720" v="121" actId="1076"/>
          <ac:graphicFrameMkLst>
            <pc:docMk/>
            <pc:sldMk cId="256225765" sldId="2141412290"/>
            <ac:graphicFrameMk id="6" creationId="{5D435308-6938-4EB1-8CB3-B0D36C42EC8A}"/>
          </ac:graphicFrameMkLst>
        </pc:graphicFrameChg>
      </pc:sldChg>
      <pc:sldChg chg="modSp mod">
        <pc:chgData name="Shannon, Patrick (EOED)" userId="d91511b2-03db-4234-a1a6-1fe33e63200b" providerId="ADAL" clId="{BFB4C9D0-3B01-4981-A68E-6B7CDC0136CF}" dt="2023-12-06T21:27:28.737" v="151" actId="6549"/>
        <pc:sldMkLst>
          <pc:docMk/>
          <pc:sldMk cId="4130341927" sldId="2141412291"/>
        </pc:sldMkLst>
        <pc:spChg chg="mod">
          <ac:chgData name="Shannon, Patrick (EOED)" userId="d91511b2-03db-4234-a1a6-1fe33e63200b" providerId="ADAL" clId="{BFB4C9D0-3B01-4981-A68E-6B7CDC0136CF}" dt="2023-12-06T21:27:28.737" v="151" actId="6549"/>
          <ac:spMkLst>
            <pc:docMk/>
            <pc:sldMk cId="4130341927" sldId="2141412291"/>
            <ac:spMk id="3" creationId="{FF7B386A-E787-439C-9721-63BAB1B0C10D}"/>
          </ac:spMkLst>
        </pc:spChg>
      </pc:sldChg>
    </pc:docChg>
  </pc:docChgLst>
  <pc:docChgLst>
    <pc:chgData name="Kluchman, Chris (EOHLC)" userId="3b2805cf-7dc0-4105-8ee7-e9f9424f61fe" providerId="ADAL" clId="{7616ED80-4888-465D-9C80-4851A929FF8F}"/>
    <pc:docChg chg="modSld">
      <pc:chgData name="Kluchman, Chris (EOHLC)" userId="3b2805cf-7dc0-4105-8ee7-e9f9424f61fe" providerId="ADAL" clId="{7616ED80-4888-465D-9C80-4851A929FF8F}" dt="2024-02-04T17:27:35.079" v="24" actId="1038"/>
      <pc:docMkLst>
        <pc:docMk/>
      </pc:docMkLst>
      <pc:sldChg chg="modSp mod">
        <pc:chgData name="Kluchman, Chris (EOHLC)" userId="3b2805cf-7dc0-4105-8ee7-e9f9424f61fe" providerId="ADAL" clId="{7616ED80-4888-465D-9C80-4851A929FF8F}" dt="2024-02-04T17:27:17.421" v="17" actId="1038"/>
        <pc:sldMkLst>
          <pc:docMk/>
          <pc:sldMk cId="1548371706" sldId="2141412270"/>
        </pc:sldMkLst>
        <pc:graphicFrameChg chg="mod">
          <ac:chgData name="Kluchman, Chris (EOHLC)" userId="3b2805cf-7dc0-4105-8ee7-e9f9424f61fe" providerId="ADAL" clId="{7616ED80-4888-465D-9C80-4851A929FF8F}" dt="2024-02-04T17:27:17.421" v="17" actId="1038"/>
          <ac:graphicFrameMkLst>
            <pc:docMk/>
            <pc:sldMk cId="1548371706" sldId="2141412270"/>
            <ac:graphicFrameMk id="5" creationId="{8D2F9C98-2070-4104-8270-F8DBDB0B4393}"/>
          </ac:graphicFrameMkLst>
        </pc:graphicFrameChg>
      </pc:sldChg>
      <pc:sldChg chg="modSp mod">
        <pc:chgData name="Kluchman, Chris (EOHLC)" userId="3b2805cf-7dc0-4105-8ee7-e9f9424f61fe" providerId="ADAL" clId="{7616ED80-4888-465D-9C80-4851A929FF8F}" dt="2024-02-04T17:27:35.079" v="24" actId="1038"/>
        <pc:sldMkLst>
          <pc:docMk/>
          <pc:sldMk cId="3268649240" sldId="2141412288"/>
        </pc:sldMkLst>
        <pc:graphicFrameChg chg="mod">
          <ac:chgData name="Kluchman, Chris (EOHLC)" userId="3b2805cf-7dc0-4105-8ee7-e9f9424f61fe" providerId="ADAL" clId="{7616ED80-4888-465D-9C80-4851A929FF8F}" dt="2024-02-04T17:27:35.079" v="24" actId="1038"/>
          <ac:graphicFrameMkLst>
            <pc:docMk/>
            <pc:sldMk cId="3268649240" sldId="2141412288"/>
            <ac:graphicFrameMk id="5" creationId="{8D2F9C98-2070-4104-8270-F8DBDB0B4393}"/>
          </ac:graphicFrameMkLst>
        </pc:graphicFrameChg>
      </pc:sldChg>
      <pc:sldChg chg="modSp mod">
        <pc:chgData name="Kluchman, Chris (EOHLC)" userId="3b2805cf-7dc0-4105-8ee7-e9f9424f61fe" providerId="ADAL" clId="{7616ED80-4888-465D-9C80-4851A929FF8F}" dt="2024-02-04T17:26:52.674" v="8" actId="1038"/>
        <pc:sldMkLst>
          <pc:docMk/>
          <pc:sldMk cId="3197768338" sldId="2141412289"/>
        </pc:sldMkLst>
        <pc:graphicFrameChg chg="mod">
          <ac:chgData name="Kluchman, Chris (EOHLC)" userId="3b2805cf-7dc0-4105-8ee7-e9f9424f61fe" providerId="ADAL" clId="{7616ED80-4888-465D-9C80-4851A929FF8F}" dt="2024-02-04T17:26:52.674" v="8" actId="1038"/>
          <ac:graphicFrameMkLst>
            <pc:docMk/>
            <pc:sldMk cId="3197768338" sldId="2141412289"/>
            <ac:graphicFrameMk id="5" creationId="{8D2F9C98-2070-4104-8270-F8DBDB0B4393}"/>
          </ac:graphicFrameMkLst>
        </pc:graphicFrameChg>
      </pc:sldChg>
    </pc:docChg>
  </pc:docChgLst>
  <pc:docChgLst>
    <pc:chgData name="Zamborlini, Filipe (EOHLC)" userId="d258b38a-e832-4fb6-b534-07694169758c" providerId="ADAL" clId="{692380C4-E00B-4E30-B926-72508F7965CD}"/>
    <pc:docChg chg="undo custSel modSld">
      <pc:chgData name="Zamborlini, Filipe (EOHLC)" userId="d258b38a-e832-4fb6-b534-07694169758c" providerId="ADAL" clId="{692380C4-E00B-4E30-B926-72508F7965CD}" dt="2024-01-29T21:46:56.120" v="249" actId="20577"/>
      <pc:docMkLst>
        <pc:docMk/>
      </pc:docMkLst>
      <pc:sldChg chg="modSp mod setBg">
        <pc:chgData name="Zamborlini, Filipe (EOHLC)" userId="d258b38a-e832-4fb6-b534-07694169758c" providerId="ADAL" clId="{692380C4-E00B-4E30-B926-72508F7965CD}" dt="2024-01-29T21:41:43.145" v="174" actId="20577"/>
        <pc:sldMkLst>
          <pc:docMk/>
          <pc:sldMk cId="788155584" sldId="256"/>
        </pc:sldMkLst>
        <pc:spChg chg="mod">
          <ac:chgData name="Zamborlini, Filipe (EOHLC)" userId="d258b38a-e832-4fb6-b534-07694169758c" providerId="ADAL" clId="{692380C4-E00B-4E30-B926-72508F7965CD}" dt="2024-01-29T21:41:43.145" v="174" actId="20577"/>
          <ac:spMkLst>
            <pc:docMk/>
            <pc:sldMk cId="788155584" sldId="256"/>
            <ac:spMk id="2" creationId="{6D8D5611-11F6-48BF-A31D-F081DD0B2971}"/>
          </ac:spMkLst>
        </pc:spChg>
      </pc:sldChg>
      <pc:sldChg chg="modSp mod">
        <pc:chgData name="Zamborlini, Filipe (EOHLC)" userId="d258b38a-e832-4fb6-b534-07694169758c" providerId="ADAL" clId="{692380C4-E00B-4E30-B926-72508F7965CD}" dt="2024-01-29T21:46:56.120" v="249" actId="20577"/>
        <pc:sldMkLst>
          <pc:docMk/>
          <pc:sldMk cId="1548371706" sldId="2141412270"/>
        </pc:sldMkLst>
        <pc:graphicFrameChg chg="mod modGraphic">
          <ac:chgData name="Zamborlini, Filipe (EOHLC)" userId="d258b38a-e832-4fb6-b534-07694169758c" providerId="ADAL" clId="{692380C4-E00B-4E30-B926-72508F7965CD}" dt="2024-01-29T21:46:56.120" v="249" actId="20577"/>
          <ac:graphicFrameMkLst>
            <pc:docMk/>
            <pc:sldMk cId="1548371706" sldId="2141412270"/>
            <ac:graphicFrameMk id="5" creationId="{8D2F9C98-2070-4104-8270-F8DBDB0B4393}"/>
          </ac:graphicFrameMkLst>
        </pc:graphicFrameChg>
      </pc:sldChg>
      <pc:sldChg chg="modSp mod">
        <pc:chgData name="Zamborlini, Filipe (EOHLC)" userId="d258b38a-e832-4fb6-b534-07694169758c" providerId="ADAL" clId="{692380C4-E00B-4E30-B926-72508F7965CD}" dt="2024-01-25T16:04:39.681" v="10" actId="14100"/>
        <pc:sldMkLst>
          <pc:docMk/>
          <pc:sldMk cId="3322238781" sldId="2141412276"/>
        </pc:sldMkLst>
        <pc:graphicFrameChg chg="mod modGraphic">
          <ac:chgData name="Zamborlini, Filipe (EOHLC)" userId="d258b38a-e832-4fb6-b534-07694169758c" providerId="ADAL" clId="{692380C4-E00B-4E30-B926-72508F7965CD}" dt="2024-01-25T16:04:39.681" v="10" actId="14100"/>
          <ac:graphicFrameMkLst>
            <pc:docMk/>
            <pc:sldMk cId="3322238781" sldId="2141412276"/>
            <ac:graphicFrameMk id="8" creationId="{983CC68F-383A-4E59-ACB9-3E79B9607891}"/>
          </ac:graphicFrameMkLst>
        </pc:graphicFrameChg>
      </pc:sldChg>
      <pc:sldChg chg="modSp mod">
        <pc:chgData name="Zamborlini, Filipe (EOHLC)" userId="d258b38a-e832-4fb6-b534-07694169758c" providerId="ADAL" clId="{692380C4-E00B-4E30-B926-72508F7965CD}" dt="2024-01-25T16:10:06.986" v="13" actId="20577"/>
        <pc:sldMkLst>
          <pc:docMk/>
          <pc:sldMk cId="814654996" sldId="2141412278"/>
        </pc:sldMkLst>
        <pc:spChg chg="mod">
          <ac:chgData name="Zamborlini, Filipe (EOHLC)" userId="d258b38a-e832-4fb6-b534-07694169758c" providerId="ADAL" clId="{692380C4-E00B-4E30-B926-72508F7965CD}" dt="2024-01-25T16:10:06.986" v="13" actId="20577"/>
          <ac:spMkLst>
            <pc:docMk/>
            <pc:sldMk cId="814654996" sldId="2141412278"/>
            <ac:spMk id="3" creationId="{E3E6AABC-5F61-4E1A-A4C3-0A52FDF0D3FB}"/>
          </ac:spMkLst>
        </pc:spChg>
      </pc:sldChg>
      <pc:sldChg chg="addSp delSp modSp mod addCm">
        <pc:chgData name="Zamborlini, Filipe (EOHLC)" userId="d258b38a-e832-4fb6-b534-07694169758c" providerId="ADAL" clId="{692380C4-E00B-4E30-B926-72508F7965CD}" dt="2024-01-26T15:33:19.903" v="172" actId="1036"/>
        <pc:sldMkLst>
          <pc:docMk/>
          <pc:sldMk cId="983188552" sldId="2141412280"/>
        </pc:sldMkLst>
        <pc:spChg chg="del">
          <ac:chgData name="Zamborlini, Filipe (EOHLC)" userId="d258b38a-e832-4fb6-b534-07694169758c" providerId="ADAL" clId="{692380C4-E00B-4E30-B926-72508F7965CD}" dt="2024-01-26T15:31:20.271" v="125" actId="478"/>
          <ac:spMkLst>
            <pc:docMk/>
            <pc:sldMk cId="983188552" sldId="2141412280"/>
            <ac:spMk id="2" creationId="{726CE79C-0E8D-BABC-240E-8EBA9112B469}"/>
          </ac:spMkLst>
        </pc:spChg>
        <pc:spChg chg="mod">
          <ac:chgData name="Zamborlini, Filipe (EOHLC)" userId="d258b38a-e832-4fb6-b534-07694169758c" providerId="ADAL" clId="{692380C4-E00B-4E30-B926-72508F7965CD}" dt="2024-01-26T15:32:53.405" v="149" actId="1036"/>
          <ac:spMkLst>
            <pc:docMk/>
            <pc:sldMk cId="983188552" sldId="2141412280"/>
            <ac:spMk id="4" creationId="{FBF2FA93-D857-F505-09F6-C32E5B13085E}"/>
          </ac:spMkLst>
        </pc:spChg>
        <pc:spChg chg="add mod">
          <ac:chgData name="Zamborlini, Filipe (EOHLC)" userId="d258b38a-e832-4fb6-b534-07694169758c" providerId="ADAL" clId="{692380C4-E00B-4E30-B926-72508F7965CD}" dt="2024-01-26T15:33:19.903" v="172" actId="1036"/>
          <ac:spMkLst>
            <pc:docMk/>
            <pc:sldMk cId="983188552" sldId="2141412280"/>
            <ac:spMk id="8" creationId="{0AF92E74-FF1D-1B60-BB3D-1DB91498C8B1}"/>
          </ac:spMkLst>
        </pc:spChg>
        <pc:graphicFrameChg chg="mod modGraphic">
          <ac:chgData name="Zamborlini, Filipe (EOHLC)" userId="d258b38a-e832-4fb6-b534-07694169758c" providerId="ADAL" clId="{692380C4-E00B-4E30-B926-72508F7965CD}" dt="2024-01-26T15:31:18.042" v="124" actId="6549"/>
          <ac:graphicFrameMkLst>
            <pc:docMk/>
            <pc:sldMk cId="983188552" sldId="2141412280"/>
            <ac:graphicFrameMk id="5" creationId="{267E5DA3-0C90-45E4-8C8F-A3E25140ACE5}"/>
          </ac:graphicFrameMkLst>
        </pc:graphicFrameChg>
        <pc:extLst>
          <p:ext xmlns:p="http://schemas.openxmlformats.org/presentationml/2006/main" uri="{D6D511B9-2390-475A-947B-AFAB55BFBCF1}">
            <pc226:cmChg xmlns:pc226="http://schemas.microsoft.com/office/powerpoint/2022/06/main/command" chg="add">
              <pc226:chgData name="Zamborlini, Filipe (EOHLC)" userId="d258b38a-e832-4fb6-b534-07694169758c" providerId="ADAL" clId="{692380C4-E00B-4E30-B926-72508F7965CD}" dt="2024-01-25T16:09:12.391" v="11"/>
              <pc2:cmMkLst xmlns:pc2="http://schemas.microsoft.com/office/powerpoint/2019/9/main/command">
                <pc:docMk/>
                <pc:sldMk cId="983188552" sldId="2141412280"/>
                <pc2:cmMk id="{2B11E6D5-001C-47C8-AE43-145D8EF12FBE}"/>
              </pc2:cmMkLst>
            </pc226:cmChg>
          </p:ext>
        </pc:extLst>
      </pc:sldChg>
      <pc:sldChg chg="modSp mod">
        <pc:chgData name="Zamborlini, Filipe (EOHLC)" userId="d258b38a-e832-4fb6-b534-07694169758c" providerId="ADAL" clId="{692380C4-E00B-4E30-B926-72508F7965CD}" dt="2024-01-25T16:18:49.840" v="48" actId="14100"/>
        <pc:sldMkLst>
          <pc:docMk/>
          <pc:sldMk cId="3268649240" sldId="2141412288"/>
        </pc:sldMkLst>
        <pc:graphicFrameChg chg="mod modGraphic">
          <ac:chgData name="Zamborlini, Filipe (EOHLC)" userId="d258b38a-e832-4fb6-b534-07694169758c" providerId="ADAL" clId="{692380C4-E00B-4E30-B926-72508F7965CD}" dt="2024-01-25T16:18:49.840" v="48" actId="14100"/>
          <ac:graphicFrameMkLst>
            <pc:docMk/>
            <pc:sldMk cId="3268649240" sldId="2141412288"/>
            <ac:graphicFrameMk id="5" creationId="{8D2F9C98-2070-4104-8270-F8DBDB0B4393}"/>
          </ac:graphicFrameMkLst>
        </pc:graphicFrameChg>
      </pc:sldChg>
      <pc:sldChg chg="modSp mod">
        <pc:chgData name="Zamborlini, Filipe (EOHLC)" userId="d258b38a-e832-4fb6-b534-07694169758c" providerId="ADAL" clId="{692380C4-E00B-4E30-B926-72508F7965CD}" dt="2024-01-25T16:30:04.825" v="115" actId="20577"/>
        <pc:sldMkLst>
          <pc:docMk/>
          <pc:sldMk cId="3197768338" sldId="2141412289"/>
        </pc:sldMkLst>
        <pc:graphicFrameChg chg="mod modGraphic">
          <ac:chgData name="Zamborlini, Filipe (EOHLC)" userId="d258b38a-e832-4fb6-b534-07694169758c" providerId="ADAL" clId="{692380C4-E00B-4E30-B926-72508F7965CD}" dt="2024-01-25T16:30:04.825" v="115" actId="20577"/>
          <ac:graphicFrameMkLst>
            <pc:docMk/>
            <pc:sldMk cId="3197768338" sldId="2141412289"/>
            <ac:graphicFrameMk id="5" creationId="{8D2F9C98-2070-4104-8270-F8DBDB0B4393}"/>
          </ac:graphicFrameMkLst>
        </pc:graphicFrameChg>
      </pc:sldChg>
    </pc:docChg>
  </pc:docChgLst>
  <pc:docChgLst>
    <pc:chgData name="Bell, McKenzie (EOHLC)" userId="21031653-2fcb-4966-87fa-863f66c5f0c3" providerId="ADAL" clId="{91E8A471-73CF-466F-817B-788BF8C0B959}"/>
    <pc:docChg chg="undo custSel modSld sldOrd">
      <pc:chgData name="Bell, McKenzie (EOHLC)" userId="21031653-2fcb-4966-87fa-863f66c5f0c3" providerId="ADAL" clId="{91E8A471-73CF-466F-817B-788BF8C0B959}" dt="2024-01-26T17:20:02.650" v="5491"/>
      <pc:docMkLst>
        <pc:docMk/>
      </pc:docMkLst>
      <pc:sldChg chg="modSp mod">
        <pc:chgData name="Bell, McKenzie (EOHLC)" userId="21031653-2fcb-4966-87fa-863f66c5f0c3" providerId="ADAL" clId="{91E8A471-73CF-466F-817B-788BF8C0B959}" dt="2024-01-24T15:31:59.270" v="37" actId="20577"/>
        <pc:sldMkLst>
          <pc:docMk/>
          <pc:sldMk cId="788155584" sldId="256"/>
        </pc:sldMkLst>
        <pc:spChg chg="mod">
          <ac:chgData name="Bell, McKenzie (EOHLC)" userId="21031653-2fcb-4966-87fa-863f66c5f0c3" providerId="ADAL" clId="{91E8A471-73CF-466F-817B-788BF8C0B959}" dt="2024-01-24T15:31:59.270" v="37" actId="20577"/>
          <ac:spMkLst>
            <pc:docMk/>
            <pc:sldMk cId="788155584" sldId="256"/>
            <ac:spMk id="2" creationId="{6D8D5611-11F6-48BF-A31D-F081DD0B2971}"/>
          </ac:spMkLst>
        </pc:spChg>
      </pc:sldChg>
      <pc:sldChg chg="addSp delSp modSp mod ord">
        <pc:chgData name="Bell, McKenzie (EOHLC)" userId="21031653-2fcb-4966-87fa-863f66c5f0c3" providerId="ADAL" clId="{91E8A471-73CF-466F-817B-788BF8C0B959}" dt="2024-01-25T21:04:40.291" v="5456" actId="1036"/>
        <pc:sldMkLst>
          <pc:docMk/>
          <pc:sldMk cId="1548371706" sldId="2141412270"/>
        </pc:sldMkLst>
        <pc:spChg chg="mod">
          <ac:chgData name="Bell, McKenzie (EOHLC)" userId="21031653-2fcb-4966-87fa-863f66c5f0c3" providerId="ADAL" clId="{91E8A471-73CF-466F-817B-788BF8C0B959}" dt="2024-01-24T19:36:22.611" v="2915" actId="20577"/>
          <ac:spMkLst>
            <pc:docMk/>
            <pc:sldMk cId="1548371706" sldId="2141412270"/>
            <ac:spMk id="2" creationId="{4585CF5D-4E2B-4A4D-A032-A797DE9BC492}"/>
          </ac:spMkLst>
        </pc:spChg>
        <pc:spChg chg="del">
          <ac:chgData name="Bell, McKenzie (EOHLC)" userId="21031653-2fcb-4966-87fa-863f66c5f0c3" providerId="ADAL" clId="{91E8A471-73CF-466F-817B-788BF8C0B959}" dt="2024-01-25T19:35:50.296" v="5223" actId="478"/>
          <ac:spMkLst>
            <pc:docMk/>
            <pc:sldMk cId="1548371706" sldId="2141412270"/>
            <ac:spMk id="6" creationId="{4006B415-731A-4D0B-B6DC-353F021653FB}"/>
          </ac:spMkLst>
        </pc:spChg>
        <pc:graphicFrameChg chg="mod modGraphic">
          <ac:chgData name="Bell, McKenzie (EOHLC)" userId="21031653-2fcb-4966-87fa-863f66c5f0c3" providerId="ADAL" clId="{91E8A471-73CF-466F-817B-788BF8C0B959}" dt="2024-01-25T21:04:40.291" v="5456" actId="1036"/>
          <ac:graphicFrameMkLst>
            <pc:docMk/>
            <pc:sldMk cId="1548371706" sldId="2141412270"/>
            <ac:graphicFrameMk id="5" creationId="{8D2F9C98-2070-4104-8270-F8DBDB0B4393}"/>
          </ac:graphicFrameMkLst>
        </pc:graphicFrameChg>
        <pc:picChg chg="add mod">
          <ac:chgData name="Bell, McKenzie (EOHLC)" userId="21031653-2fcb-4966-87fa-863f66c5f0c3" providerId="ADAL" clId="{91E8A471-73CF-466F-817B-788BF8C0B959}" dt="2024-01-25T19:36:02.567" v="5228" actId="1076"/>
          <ac:picMkLst>
            <pc:docMk/>
            <pc:sldMk cId="1548371706" sldId="2141412270"/>
            <ac:picMk id="1026" creationId="{CD461465-7048-9DF2-4D19-87E6B6837E3A}"/>
          </ac:picMkLst>
        </pc:picChg>
      </pc:sldChg>
      <pc:sldChg chg="modSp mod">
        <pc:chgData name="Bell, McKenzie (EOHLC)" userId="21031653-2fcb-4966-87fa-863f66c5f0c3" providerId="ADAL" clId="{91E8A471-73CF-466F-817B-788BF8C0B959}" dt="2024-01-24T16:59:41.750" v="2054" actId="404"/>
        <pc:sldMkLst>
          <pc:docMk/>
          <pc:sldMk cId="3322238781" sldId="2141412276"/>
        </pc:sldMkLst>
        <pc:graphicFrameChg chg="mod modGraphic">
          <ac:chgData name="Bell, McKenzie (EOHLC)" userId="21031653-2fcb-4966-87fa-863f66c5f0c3" providerId="ADAL" clId="{91E8A471-73CF-466F-817B-788BF8C0B959}" dt="2024-01-24T16:59:41.750" v="2054" actId="404"/>
          <ac:graphicFrameMkLst>
            <pc:docMk/>
            <pc:sldMk cId="3322238781" sldId="2141412276"/>
            <ac:graphicFrameMk id="8" creationId="{983CC68F-383A-4E59-ACB9-3E79B9607891}"/>
          </ac:graphicFrameMkLst>
        </pc:graphicFrameChg>
      </pc:sldChg>
      <pc:sldChg chg="modSp mod">
        <pc:chgData name="Bell, McKenzie (EOHLC)" userId="21031653-2fcb-4966-87fa-863f66c5f0c3" providerId="ADAL" clId="{91E8A471-73CF-466F-817B-788BF8C0B959}" dt="2024-01-25T19:02:47.504" v="4333" actId="20577"/>
        <pc:sldMkLst>
          <pc:docMk/>
          <pc:sldMk cId="814654996" sldId="2141412278"/>
        </pc:sldMkLst>
        <pc:spChg chg="mod">
          <ac:chgData name="Bell, McKenzie (EOHLC)" userId="21031653-2fcb-4966-87fa-863f66c5f0c3" providerId="ADAL" clId="{91E8A471-73CF-466F-817B-788BF8C0B959}" dt="2024-01-25T19:02:47.504" v="4333" actId="20577"/>
          <ac:spMkLst>
            <pc:docMk/>
            <pc:sldMk cId="814654996" sldId="2141412278"/>
            <ac:spMk id="3" creationId="{E3E6AABC-5F61-4E1A-A4C3-0A52FDF0D3FB}"/>
          </ac:spMkLst>
        </pc:spChg>
      </pc:sldChg>
      <pc:sldChg chg="addSp modSp mod modCm">
        <pc:chgData name="Bell, McKenzie (EOHLC)" userId="21031653-2fcb-4966-87fa-863f66c5f0c3" providerId="ADAL" clId="{91E8A471-73CF-466F-817B-788BF8C0B959}" dt="2024-01-26T17:20:02.650" v="5491"/>
        <pc:sldMkLst>
          <pc:docMk/>
          <pc:sldMk cId="983188552" sldId="2141412280"/>
        </pc:sldMkLst>
        <pc:spChg chg="add mod">
          <ac:chgData name="Bell, McKenzie (EOHLC)" userId="21031653-2fcb-4966-87fa-863f66c5f0c3" providerId="ADAL" clId="{91E8A471-73CF-466F-817B-788BF8C0B959}" dt="2024-01-24T15:34:32.982" v="178" actId="1076"/>
          <ac:spMkLst>
            <pc:docMk/>
            <pc:sldMk cId="983188552" sldId="2141412280"/>
            <ac:spMk id="2" creationId="{726CE79C-0E8D-BABC-240E-8EBA9112B469}"/>
          </ac:spMkLst>
        </pc:spChg>
        <pc:spChg chg="add mod">
          <ac:chgData name="Bell, McKenzie (EOHLC)" userId="21031653-2fcb-4966-87fa-863f66c5f0c3" providerId="ADAL" clId="{91E8A471-73CF-466F-817B-788BF8C0B959}" dt="2024-01-26T15:37:28.117" v="5485" actId="14100"/>
          <ac:spMkLst>
            <pc:docMk/>
            <pc:sldMk cId="983188552" sldId="2141412280"/>
            <ac:spMk id="3" creationId="{8462D8AC-6C63-9423-3EAA-7CCCC0AD1877}"/>
          </ac:spMkLst>
        </pc:spChg>
        <pc:spChg chg="add mod">
          <ac:chgData name="Bell, McKenzie (EOHLC)" userId="21031653-2fcb-4966-87fa-863f66c5f0c3" providerId="ADAL" clId="{91E8A471-73CF-466F-817B-788BF8C0B959}" dt="2024-01-26T15:32:17.545" v="5480" actId="14100"/>
          <ac:spMkLst>
            <pc:docMk/>
            <pc:sldMk cId="983188552" sldId="2141412280"/>
            <ac:spMk id="4" creationId="{FBF2FA93-D857-F505-09F6-C32E5B13085E}"/>
          </ac:spMkLst>
        </pc:spChg>
        <pc:spChg chg="mod">
          <ac:chgData name="Bell, McKenzie (EOHLC)" userId="21031653-2fcb-4966-87fa-863f66c5f0c3" providerId="ADAL" clId="{91E8A471-73CF-466F-817B-788BF8C0B959}" dt="2024-01-24T15:34:49.175" v="183" actId="20577"/>
          <ac:spMkLst>
            <pc:docMk/>
            <pc:sldMk cId="983188552" sldId="2141412280"/>
            <ac:spMk id="6" creationId="{6F0772BF-7857-46D5-8BBB-054A180A9AC9}"/>
          </ac:spMkLst>
        </pc:spChg>
        <pc:spChg chg="mod">
          <ac:chgData name="Bell, McKenzie (EOHLC)" userId="21031653-2fcb-4966-87fa-863f66c5f0c3" providerId="ADAL" clId="{91E8A471-73CF-466F-817B-788BF8C0B959}" dt="2024-01-26T15:38:19.330" v="5490" actId="14100"/>
          <ac:spMkLst>
            <pc:docMk/>
            <pc:sldMk cId="983188552" sldId="2141412280"/>
            <ac:spMk id="7" creationId="{5E9820EC-76DE-4F23-B392-30C90ABEE4D8}"/>
          </ac:spMkLst>
        </pc:spChg>
        <pc:spChg chg="mod">
          <ac:chgData name="Bell, McKenzie (EOHLC)" userId="21031653-2fcb-4966-87fa-863f66c5f0c3" providerId="ADAL" clId="{91E8A471-73CF-466F-817B-788BF8C0B959}" dt="2024-01-26T15:37:22.438" v="5484" actId="14100"/>
          <ac:spMkLst>
            <pc:docMk/>
            <pc:sldMk cId="983188552" sldId="2141412280"/>
            <ac:spMk id="8" creationId="{0AF92E74-FF1D-1B60-BB3D-1DB91498C8B1}"/>
          </ac:spMkLst>
        </pc:spChg>
        <pc:extLst>
          <p:ext xmlns:p="http://schemas.openxmlformats.org/presentationml/2006/main" uri="{D6D511B9-2390-475A-947B-AFAB55BFBCF1}">
            <pc226:cmChg xmlns:pc226="http://schemas.microsoft.com/office/powerpoint/2022/06/main/command" chg="mod">
              <pc226:chgData name="Bell, McKenzie (EOHLC)" userId="21031653-2fcb-4966-87fa-863f66c5f0c3" providerId="ADAL" clId="{91E8A471-73CF-466F-817B-788BF8C0B959}" dt="2024-01-26T17:20:02.650" v="5491"/>
              <pc2:cmMkLst xmlns:pc2="http://schemas.microsoft.com/office/powerpoint/2019/9/main/command">
                <pc:docMk/>
                <pc:sldMk cId="983188552" sldId="2141412280"/>
                <pc2:cmMk id="{2B11E6D5-001C-47C8-AE43-145D8EF12FBE}"/>
              </pc2:cmMkLst>
            </pc226:cmChg>
          </p:ext>
        </pc:extLst>
      </pc:sldChg>
      <pc:sldChg chg="modSp mod">
        <pc:chgData name="Bell, McKenzie (EOHLC)" userId="21031653-2fcb-4966-87fa-863f66c5f0c3" providerId="ADAL" clId="{91E8A471-73CF-466F-817B-788BF8C0B959}" dt="2024-01-24T15:35:36.745" v="241" actId="6549"/>
        <pc:sldMkLst>
          <pc:docMk/>
          <pc:sldMk cId="1567911057" sldId="2141412283"/>
        </pc:sldMkLst>
        <pc:spChg chg="mod">
          <ac:chgData name="Bell, McKenzie (EOHLC)" userId="21031653-2fcb-4966-87fa-863f66c5f0c3" providerId="ADAL" clId="{91E8A471-73CF-466F-817B-788BF8C0B959}" dt="2024-01-24T15:35:36.745" v="241" actId="6549"/>
          <ac:spMkLst>
            <pc:docMk/>
            <pc:sldMk cId="1567911057" sldId="2141412283"/>
            <ac:spMk id="3" creationId="{3B217499-4FFC-4C40-B035-304E62F129AF}"/>
          </ac:spMkLst>
        </pc:spChg>
      </pc:sldChg>
      <pc:sldChg chg="modSp mod">
        <pc:chgData name="Bell, McKenzie (EOHLC)" userId="21031653-2fcb-4966-87fa-863f66c5f0c3" providerId="ADAL" clId="{91E8A471-73CF-466F-817B-788BF8C0B959}" dt="2024-01-24T21:20:40.083" v="4240" actId="20577"/>
        <pc:sldMkLst>
          <pc:docMk/>
          <pc:sldMk cId="3825862596" sldId="2141412284"/>
        </pc:sldMkLst>
        <pc:spChg chg="mod">
          <ac:chgData name="Bell, McKenzie (EOHLC)" userId="21031653-2fcb-4966-87fa-863f66c5f0c3" providerId="ADAL" clId="{91E8A471-73CF-466F-817B-788BF8C0B959}" dt="2024-01-24T21:20:40.083" v="4240" actId="20577"/>
          <ac:spMkLst>
            <pc:docMk/>
            <pc:sldMk cId="3825862596" sldId="2141412284"/>
            <ac:spMk id="2" creationId="{9F843C95-F95B-474A-A7A6-F8FF5242919A}"/>
          </ac:spMkLst>
        </pc:spChg>
        <pc:graphicFrameChg chg="modGraphic">
          <ac:chgData name="Bell, McKenzie (EOHLC)" userId="21031653-2fcb-4966-87fa-863f66c5f0c3" providerId="ADAL" clId="{91E8A471-73CF-466F-817B-788BF8C0B959}" dt="2024-01-24T16:52:07.766" v="1399" actId="20577"/>
          <ac:graphicFrameMkLst>
            <pc:docMk/>
            <pc:sldMk cId="3825862596" sldId="2141412284"/>
            <ac:graphicFrameMk id="4" creationId="{13538A0A-A7A9-4441-A99B-48E577B1ACB5}"/>
          </ac:graphicFrameMkLst>
        </pc:graphicFrameChg>
      </pc:sldChg>
      <pc:sldChg chg="modSp mod">
        <pc:chgData name="Bell, McKenzie (EOHLC)" userId="21031653-2fcb-4966-87fa-863f66c5f0c3" providerId="ADAL" clId="{91E8A471-73CF-466F-817B-788BF8C0B959}" dt="2024-01-24T15:32:57.597" v="84" actId="20577"/>
        <pc:sldMkLst>
          <pc:docMk/>
          <pc:sldMk cId="502937730" sldId="2141412287"/>
        </pc:sldMkLst>
        <pc:graphicFrameChg chg="modGraphic">
          <ac:chgData name="Bell, McKenzie (EOHLC)" userId="21031653-2fcb-4966-87fa-863f66c5f0c3" providerId="ADAL" clId="{91E8A471-73CF-466F-817B-788BF8C0B959}" dt="2024-01-24T15:32:57.597" v="84" actId="20577"/>
          <ac:graphicFrameMkLst>
            <pc:docMk/>
            <pc:sldMk cId="502937730" sldId="2141412287"/>
            <ac:graphicFrameMk id="5" creationId="{6A658386-8272-4917-AC28-3DFE1A03B1E2}"/>
          </ac:graphicFrameMkLst>
        </pc:graphicFrameChg>
      </pc:sldChg>
      <pc:sldChg chg="addSp delSp modSp mod">
        <pc:chgData name="Bell, McKenzie (EOHLC)" userId="21031653-2fcb-4966-87fa-863f66c5f0c3" providerId="ADAL" clId="{91E8A471-73CF-466F-817B-788BF8C0B959}" dt="2024-01-25T19:44:22.096" v="5424" actId="20577"/>
        <pc:sldMkLst>
          <pc:docMk/>
          <pc:sldMk cId="3268649240" sldId="2141412288"/>
        </pc:sldMkLst>
        <pc:spChg chg="mod">
          <ac:chgData name="Bell, McKenzie (EOHLC)" userId="21031653-2fcb-4966-87fa-863f66c5f0c3" providerId="ADAL" clId="{91E8A471-73CF-466F-817B-788BF8C0B959}" dt="2024-01-24T19:36:25.854" v="2917" actId="20577"/>
          <ac:spMkLst>
            <pc:docMk/>
            <pc:sldMk cId="3268649240" sldId="2141412288"/>
            <ac:spMk id="2" creationId="{4585CF5D-4E2B-4A4D-A032-A797DE9BC492}"/>
          </ac:spMkLst>
        </pc:spChg>
        <pc:spChg chg="del mod">
          <ac:chgData name="Bell, McKenzie (EOHLC)" userId="21031653-2fcb-4966-87fa-863f66c5f0c3" providerId="ADAL" clId="{91E8A471-73CF-466F-817B-788BF8C0B959}" dt="2024-01-25T19:42:18.608" v="5262" actId="478"/>
          <ac:spMkLst>
            <pc:docMk/>
            <pc:sldMk cId="3268649240" sldId="2141412288"/>
            <ac:spMk id="6" creationId="{4006B415-731A-4D0B-B6DC-353F021653FB}"/>
          </ac:spMkLst>
        </pc:spChg>
        <pc:graphicFrameChg chg="mod modGraphic">
          <ac:chgData name="Bell, McKenzie (EOHLC)" userId="21031653-2fcb-4966-87fa-863f66c5f0c3" providerId="ADAL" clId="{91E8A471-73CF-466F-817B-788BF8C0B959}" dt="2024-01-25T19:44:22.096" v="5424" actId="20577"/>
          <ac:graphicFrameMkLst>
            <pc:docMk/>
            <pc:sldMk cId="3268649240" sldId="2141412288"/>
            <ac:graphicFrameMk id="5" creationId="{8D2F9C98-2070-4104-8270-F8DBDB0B4393}"/>
          </ac:graphicFrameMkLst>
        </pc:graphicFrameChg>
        <pc:picChg chg="add mod">
          <ac:chgData name="Bell, McKenzie (EOHLC)" userId="21031653-2fcb-4966-87fa-863f66c5f0c3" providerId="ADAL" clId="{91E8A471-73CF-466F-817B-788BF8C0B959}" dt="2024-01-25T19:42:31.890" v="5265" actId="1076"/>
          <ac:picMkLst>
            <pc:docMk/>
            <pc:sldMk cId="3268649240" sldId="2141412288"/>
            <ac:picMk id="2050" creationId="{F47C1E52-C275-7242-8F71-5D42ED227046}"/>
          </ac:picMkLst>
        </pc:picChg>
      </pc:sldChg>
      <pc:sldChg chg="addSp delSp modSp mod ord">
        <pc:chgData name="Bell, McKenzie (EOHLC)" userId="21031653-2fcb-4966-87fa-863f66c5f0c3" providerId="ADAL" clId="{91E8A471-73CF-466F-817B-788BF8C0B959}" dt="2024-01-25T21:05:01.862" v="5478" actId="1035"/>
        <pc:sldMkLst>
          <pc:docMk/>
          <pc:sldMk cId="3197768338" sldId="2141412289"/>
        </pc:sldMkLst>
        <pc:spChg chg="del">
          <ac:chgData name="Bell, McKenzie (EOHLC)" userId="21031653-2fcb-4966-87fa-863f66c5f0c3" providerId="ADAL" clId="{91E8A471-73CF-466F-817B-788BF8C0B959}" dt="2024-01-25T19:24:17.220" v="4831" actId="478"/>
          <ac:spMkLst>
            <pc:docMk/>
            <pc:sldMk cId="3197768338" sldId="2141412289"/>
            <ac:spMk id="6" creationId="{4006B415-731A-4D0B-B6DC-353F021653FB}"/>
          </ac:spMkLst>
        </pc:spChg>
        <pc:spChg chg="add mod">
          <ac:chgData name="Bell, McKenzie (EOHLC)" userId="21031653-2fcb-4966-87fa-863f66c5f0c3" providerId="ADAL" clId="{91E8A471-73CF-466F-817B-788BF8C0B959}" dt="2024-01-25T19:28:44.721" v="4883" actId="1035"/>
          <ac:spMkLst>
            <pc:docMk/>
            <pc:sldMk cId="3197768338" sldId="2141412289"/>
            <ac:spMk id="7" creationId="{04A301E5-F720-3E50-BA51-D28FAC14A5B2}"/>
          </ac:spMkLst>
        </pc:spChg>
        <pc:graphicFrameChg chg="mod modGraphic">
          <ac:chgData name="Bell, McKenzie (EOHLC)" userId="21031653-2fcb-4966-87fa-863f66c5f0c3" providerId="ADAL" clId="{91E8A471-73CF-466F-817B-788BF8C0B959}" dt="2024-01-25T21:05:01.862" v="5478" actId="1035"/>
          <ac:graphicFrameMkLst>
            <pc:docMk/>
            <pc:sldMk cId="3197768338" sldId="2141412289"/>
            <ac:graphicFrameMk id="5" creationId="{8D2F9C98-2070-4104-8270-F8DBDB0B4393}"/>
          </ac:graphicFrameMkLst>
        </pc:graphicFrameChg>
        <pc:picChg chg="add mod">
          <ac:chgData name="Bell, McKenzie (EOHLC)" userId="21031653-2fcb-4966-87fa-863f66c5f0c3" providerId="ADAL" clId="{91E8A471-73CF-466F-817B-788BF8C0B959}" dt="2024-01-25T19:24:29.098" v="4835" actId="1076"/>
          <ac:picMkLst>
            <pc:docMk/>
            <pc:sldMk cId="3197768338" sldId="2141412289"/>
            <ac:picMk id="4" creationId="{9E9BC0DE-DA7F-CA02-F823-FE1B61B870C6}"/>
          </ac:picMkLst>
        </pc:picChg>
      </pc:sldChg>
      <pc:sldChg chg="addSp delSp modSp mod">
        <pc:chgData name="Bell, McKenzie (EOHLC)" userId="21031653-2fcb-4966-87fa-863f66c5f0c3" providerId="ADAL" clId="{91E8A471-73CF-466F-817B-788BF8C0B959}" dt="2024-01-24T15:25:32.273" v="6" actId="1076"/>
        <pc:sldMkLst>
          <pc:docMk/>
          <pc:sldMk cId="256225765" sldId="2141412290"/>
        </pc:sldMkLst>
        <pc:spChg chg="del">
          <ac:chgData name="Bell, McKenzie (EOHLC)" userId="21031653-2fcb-4966-87fa-863f66c5f0c3" providerId="ADAL" clId="{91E8A471-73CF-466F-817B-788BF8C0B959}" dt="2024-01-24T15:25:21.742" v="0" actId="478"/>
          <ac:spMkLst>
            <pc:docMk/>
            <pc:sldMk cId="256225765" sldId="2141412290"/>
            <ac:spMk id="7" creationId="{41F41834-5133-4699-A2E2-909CB3602462}"/>
          </ac:spMkLst>
        </pc:spChg>
        <pc:picChg chg="del">
          <ac:chgData name="Bell, McKenzie (EOHLC)" userId="21031653-2fcb-4966-87fa-863f66c5f0c3" providerId="ADAL" clId="{91E8A471-73CF-466F-817B-788BF8C0B959}" dt="2024-01-24T15:25:22.669" v="1" actId="478"/>
          <ac:picMkLst>
            <pc:docMk/>
            <pc:sldMk cId="256225765" sldId="2141412290"/>
            <ac:picMk id="5" creationId="{B7BF3A15-B50B-44A3-85C4-CD6D6F409B23}"/>
          </ac:picMkLst>
        </pc:picChg>
        <pc:picChg chg="add mod">
          <ac:chgData name="Bell, McKenzie (EOHLC)" userId="21031653-2fcb-4966-87fa-863f66c5f0c3" providerId="ADAL" clId="{91E8A471-73CF-466F-817B-788BF8C0B959}" dt="2024-01-24T15:25:32.273" v="6" actId="1076"/>
          <ac:picMkLst>
            <pc:docMk/>
            <pc:sldMk cId="256225765" sldId="2141412290"/>
            <ac:picMk id="8" creationId="{3EEB663D-660C-AE14-C4C4-C1FBAABC1E37}"/>
          </ac:picMkLst>
        </pc:picChg>
      </pc:sldChg>
      <pc:sldChg chg="modSp mod">
        <pc:chgData name="Bell, McKenzie (EOHLC)" userId="21031653-2fcb-4966-87fa-863f66c5f0c3" providerId="ADAL" clId="{91E8A471-73CF-466F-817B-788BF8C0B959}" dt="2024-01-24T15:32:18.643" v="80" actId="20577"/>
        <pc:sldMkLst>
          <pc:docMk/>
          <pc:sldMk cId="4130341927" sldId="2141412291"/>
        </pc:sldMkLst>
        <pc:spChg chg="mod">
          <ac:chgData name="Bell, McKenzie (EOHLC)" userId="21031653-2fcb-4966-87fa-863f66c5f0c3" providerId="ADAL" clId="{91E8A471-73CF-466F-817B-788BF8C0B959}" dt="2024-01-24T15:32:18.643" v="80" actId="20577"/>
          <ac:spMkLst>
            <pc:docMk/>
            <pc:sldMk cId="4130341927" sldId="2141412291"/>
            <ac:spMk id="3" creationId="{FF7B386A-E787-439C-9721-63BAB1B0C10D}"/>
          </ac:spMkLst>
        </pc:spChg>
      </pc:sldChg>
    </pc:docChg>
  </pc:docChgLst>
  <pc:docChgLst>
    <pc:chgData name="Bell, McKenzie (EOHLC)" userId="S::mckenzie.bell@mass.gov::21031653-2fcb-4966-87fa-863f66c5f0c3" providerId="AD" clId="Web-{9BD1DF02-D79F-2A2A-A098-0A99929B045F}"/>
    <pc:docChg chg="modSld">
      <pc:chgData name="Bell, McKenzie (EOHLC)" userId="S::mckenzie.bell@mass.gov::21031653-2fcb-4966-87fa-863f66c5f0c3" providerId="AD" clId="Web-{9BD1DF02-D79F-2A2A-A098-0A99929B045F}" dt="2024-02-05T13:11:35.903" v="2" actId="1076"/>
      <pc:docMkLst>
        <pc:docMk/>
      </pc:docMkLst>
      <pc:sldChg chg="modSp">
        <pc:chgData name="Bell, McKenzie (EOHLC)" userId="S::mckenzie.bell@mass.gov::21031653-2fcb-4966-87fa-863f66c5f0c3" providerId="AD" clId="Web-{9BD1DF02-D79F-2A2A-A098-0A99929B045F}" dt="2024-02-05T13:11:35.903" v="2" actId="1076"/>
        <pc:sldMkLst>
          <pc:docMk/>
          <pc:sldMk cId="256225765" sldId="2141412290"/>
        </pc:sldMkLst>
        <pc:spChg chg="mod">
          <ac:chgData name="Bell, McKenzie (EOHLC)" userId="S::mckenzie.bell@mass.gov::21031653-2fcb-4966-87fa-863f66c5f0c3" providerId="AD" clId="Web-{9BD1DF02-D79F-2A2A-A098-0A99929B045F}" dt="2024-02-05T13:11:28.215" v="1" actId="1076"/>
          <ac:spMkLst>
            <pc:docMk/>
            <pc:sldMk cId="256225765" sldId="2141412290"/>
            <ac:spMk id="3" creationId="{6E5D5441-7527-4E3C-B231-49027EB0C9D5}"/>
          </ac:spMkLst>
        </pc:spChg>
        <pc:graphicFrameChg chg="mod">
          <ac:chgData name="Bell, McKenzie (EOHLC)" userId="S::mckenzie.bell@mass.gov::21031653-2fcb-4966-87fa-863f66c5f0c3" providerId="AD" clId="Web-{9BD1DF02-D79F-2A2A-A098-0A99929B045F}" dt="2024-02-05T13:11:35.903" v="2" actId="1076"/>
          <ac:graphicFrameMkLst>
            <pc:docMk/>
            <pc:sldMk cId="256225765" sldId="2141412290"/>
            <ac:graphicFrameMk id="6" creationId="{5D435308-6938-4EB1-8CB3-B0D36C42EC8A}"/>
          </ac:graphicFrameMkLst>
        </pc:graphicFrameChg>
      </pc:sldChg>
    </pc:docChg>
  </pc:docChgLst>
</pc:chgInfo>
</file>

<file path=ppt/comments/modernComment_7FA35BB8_3A9A4448.xml><?xml version="1.0" encoding="utf-8"?>
<p188:cmLst xmlns:a="http://schemas.openxmlformats.org/drawingml/2006/main" xmlns:r="http://schemas.openxmlformats.org/officeDocument/2006/relationships" xmlns:p188="http://schemas.microsoft.com/office/powerpoint/2018/8/main">
  <p188:cm id="{2B11E6D5-001C-47C8-AE43-145D8EF12FBE}" authorId="{C05ABEC0-E5CA-6F31-B971-DD1FDC6FCC51}" status="resolved" created="2024-01-25T16:09:12.316" complete="100000">
    <ac:txMkLst xmlns:ac="http://schemas.microsoft.com/office/drawing/2013/main/command">
      <pc:docMk xmlns:pc="http://schemas.microsoft.com/office/powerpoint/2013/main/command"/>
      <pc:sldMk xmlns:pc="http://schemas.microsoft.com/office/powerpoint/2013/main/command" cId="983188552" sldId="2141412280"/>
      <ac:graphicFrameMk id="5" creationId="{267E5DA3-0C90-45E4-8C8F-A3E25140ACE5}"/>
      <ac:tblMk/>
      <ac:tcMk rowId="2272573696" colId="1234584374"/>
      <ac:txMk cp="137" len="75">
        <ac:context len="403" hash="2550985314"/>
      </ac:txMk>
    </ac:txMkLst>
    <p188:pos x="11889147" y="2119473"/>
    <p188:txBody>
      <a:bodyPr/>
      <a:lstStyle/>
      <a:p>
        <a:r>
          <a:rPr lang="en-US"/>
          <a:t>[@Bell, McKenzie (EOHLC)]  can you confirm with Pat if this is right or not? I was not under the impression that HC was only looking at Housing Only, I thought I twas looking at everything including STRAP.</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E3D25E-DD64-4626-88DA-B753B7542960}" type="datetimeFigureOut">
              <a:rPr lang="en-US" smtClean="0"/>
              <a:t>2/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5B0340-ED75-4F06-87FE-2C081D4ED09F}" type="slidenum">
              <a:rPr lang="en-US" smtClean="0"/>
              <a:t>‹#›</a:t>
            </a:fld>
            <a:endParaRPr lang="en-US"/>
          </a:p>
        </p:txBody>
      </p:sp>
    </p:spTree>
    <p:extLst>
      <p:ext uri="{BB962C8B-B14F-4D97-AF65-F5344CB8AC3E}">
        <p14:creationId xmlns:p14="http://schemas.microsoft.com/office/powerpoint/2010/main" val="192059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5B0340-ED75-4F06-87FE-2C081D4ED09F}" type="slidenum">
              <a:rPr lang="en-US" smtClean="0"/>
              <a:t>6</a:t>
            </a:fld>
            <a:endParaRPr lang="en-US"/>
          </a:p>
        </p:txBody>
      </p:sp>
    </p:spTree>
    <p:extLst>
      <p:ext uri="{BB962C8B-B14F-4D97-AF65-F5344CB8AC3E}">
        <p14:creationId xmlns:p14="http://schemas.microsoft.com/office/powerpoint/2010/main" val="31560909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738" y="566738"/>
            <a:ext cx="6537325" cy="36766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18826942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5.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10.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2.jpeg"/><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5.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12.jpeg"/><Relationship Id="rId4" Type="http://schemas.openxmlformats.org/officeDocument/2006/relationships/image" Target="../media/image4.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6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62.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1.png"/><Relationship Id="rId5" Type="http://schemas.openxmlformats.org/officeDocument/2006/relationships/image" Target="../media/image5.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9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92.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93.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4.emf"/></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96.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5.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97.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98.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9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100.xml"/><Relationship Id="rId5" Type="http://schemas.openxmlformats.org/officeDocument/2006/relationships/image" Target="../media/image12.jpeg"/><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101.xml"/><Relationship Id="rId4" Type="http://schemas.openxmlformats.org/officeDocument/2006/relationships/image" Target="../media/image5.emf"/></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104.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105.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106.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109.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110.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xml"/><Relationship Id="rId1" Type="http://schemas.openxmlformats.org/officeDocument/2006/relationships/tags" Target="../tags/tag111.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xml"/><Relationship Id="rId1" Type="http://schemas.openxmlformats.org/officeDocument/2006/relationships/tags" Target="../tags/tag112.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5.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0436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mn-lt"/>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7"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mn-lt"/>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2482148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96698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3"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015940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22944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603967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5521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014808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85337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Copyright" hidden="1"/>
          <p:cNvSpPr txBox="1"/>
          <p:nvPr/>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462685"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803457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157444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7" name="Title 2"/>
          <p:cNvSpPr>
            <a:spLocks noGrp="1"/>
          </p:cNvSpPr>
          <p:nvPr>
            <p:ph type="title" hasCustomPrompt="1"/>
          </p:nvPr>
        </p:nvSpPr>
        <p:spPr>
          <a:xfrm>
            <a:off x="462685" y="2764203"/>
            <a:ext cx="2478638"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760244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173002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689760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66766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18462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9367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695873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09339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184174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94892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406504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ai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56908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bg1"/>
                </a:solidFill>
                <a:latin typeface="+mj-lt"/>
                <a:ea typeface="+mj-ea"/>
                <a:cs typeface="+mj-cs"/>
                <a:sym typeface="+mj-lt"/>
              </a:defRPr>
            </a:lvl1pPr>
          </a:lstStyle>
          <a:p>
            <a:pPr lvl="0"/>
            <a:r>
              <a:rPr lang="en-US"/>
              <a:t>Click to add title</a:t>
            </a:r>
          </a:p>
        </p:txBody>
      </p: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9" name="Content Placeholder 7"/>
          <p:cNvSpPr>
            <a:spLocks noGrp="1"/>
          </p:cNvSpPr>
          <p:nvPr>
            <p:ph sz="quarter" idx="13" hasCustomPrompt="1"/>
          </p:nvPr>
        </p:nvSpPr>
        <p:spPr>
          <a:xfrm>
            <a:off x="1239925" y="1427623"/>
            <a:ext cx="11100664" cy="5125577"/>
          </a:xfrm>
          <a:prstGeom prst="rect">
            <a:avLst/>
          </a:prstGeom>
        </p:spPr>
        <p:txBody>
          <a:bodyPr/>
          <a:lstStyle>
            <a:lvl1pPr marL="342900" indent="-342900">
              <a:buClrTx/>
              <a:buFont typeface="Arial" panose="020B0604020202020204" pitchFamily="34" charset="0"/>
              <a:buChar char="•"/>
              <a:defRPr sz="2000" b="0">
                <a:latin typeface="+mn-lt"/>
                <a:ea typeface="+mn-ea"/>
                <a:cs typeface="+mn-cs"/>
                <a:sym typeface="+mn-lt"/>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body</a:t>
            </a:r>
          </a:p>
        </p:txBody>
      </p:sp>
    </p:spTree>
    <p:extLst>
      <p:ext uri="{BB962C8B-B14F-4D97-AF65-F5344CB8AC3E}">
        <p14:creationId xmlns:p14="http://schemas.microsoft.com/office/powerpoint/2010/main" val="117030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54624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445492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0860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735654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ig statement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99624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78790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ig statement ic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903724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732032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320730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35745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18572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62685" y="535714"/>
            <a:ext cx="9839216" cy="470898"/>
          </a:xfrm>
        </p:spPr>
        <p:txBody>
          <a:bodyPr/>
          <a:lstStyle>
            <a:lvl1pPr>
              <a:defRPr sz="3400">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112988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86991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020693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217010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19187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26908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502129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267141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pic>
        <p:nvPicPr>
          <p:cNvPr id="10" name="Picture 447" descr="Boston, Massachusetts, USA"/>
          <p:cNvPicPr>
            <a:picLocks noChangeAspect="1" noChangeArrowheads="1"/>
          </p:cNvPicPr>
          <p:nvPr/>
        </p:nvPicPr>
        <p:blipFill rotWithShape="1">
          <a:blip r:embed="rId6">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3" name="TextBox 2"/>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1093746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421903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
        <p:nvSpPr>
          <p:cNvPr id="20" name="Text Placeholder 8"/>
          <p:cNvSpPr>
            <a:spLocks noGrp="1"/>
          </p:cNvSpPr>
          <p:nvPr>
            <p:ph type="body" sz="quarter" idx="17"/>
          </p:nvPr>
        </p:nvSpPr>
        <p:spPr>
          <a:xfrm>
            <a:off x="462684"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8"/>
          <p:cNvSpPr>
            <a:spLocks noGrp="1"/>
          </p:cNvSpPr>
          <p:nvPr>
            <p:ph type="body" sz="quarter" idx="18"/>
          </p:nvPr>
        </p:nvSpPr>
        <p:spPr>
          <a:xfrm>
            <a:off x="6102311"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6426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1341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35985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45554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Arial" panose="020B0604020202020204" pitchFamily="34" charset="0"/>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9" name="Rectangle 18"/>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23"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Arial" panose="020B0604020202020204" pitchFamily="34" charset="0"/>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2328359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22802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1" name="Straight Connector 20"/>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6"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3490798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548785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47675" y="2085628"/>
            <a:ext cx="1111567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13" name="Straight Connector 12"/>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9"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89769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4780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62685"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62685"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328411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91574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pic>
        <p:nvPicPr>
          <p:cNvPr id="16"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290554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65631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699730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623425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692094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095722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76529"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139574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01004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0093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101649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586143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20957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180196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224905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21"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443371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47442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62685"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450585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33478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0" name="Title 2"/>
          <p:cNvSpPr>
            <a:spLocks noGrp="1"/>
          </p:cNvSpPr>
          <p:nvPr>
            <p:ph type="title" hasCustomPrompt="1"/>
          </p:nvPr>
        </p:nvSpPr>
        <p:spPr>
          <a:xfrm>
            <a:off x="462685" y="2764203"/>
            <a:ext cx="24786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97290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1440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62685"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4"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859314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74341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025727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14820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739830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494251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749428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72914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918194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34057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447058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786739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cxnSp>
        <p:nvCxnSpPr>
          <p:cNvPr id="7" name="Straight Connector 6"/>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6" name="Straight Connector 15"/>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077507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682034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866396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699866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75400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16885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130072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149224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572966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501937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9966776" cy="332399"/>
          </a:xfrm>
        </p:spPr>
        <p:txBody>
          <a:bodyPr/>
          <a:lstStyle>
            <a:lvl1pPr>
              <a:defRPr>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189986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78906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29999" y="2548118"/>
            <a:ext cx="3067357"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22568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034197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67884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47993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069073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33964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097502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98184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12" name="TextBox 11"/>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3561885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819337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462685"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002510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80084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38525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Section Header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001603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Rectangle 10"/>
          <p:cNvSpPr/>
          <p:nvPr/>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pic>
        <p:nvPicPr>
          <p:cNvPr id="16"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48492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Section 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72183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727271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Full Width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797458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40496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51911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515422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81288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041107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Section Hea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8549001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155073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236086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531463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1653417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74357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135332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9"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09776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48180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688072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035D0-F9F5-4393-BDAE-AED23AD9CD8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9B3DB3C-D19C-4D2F-BA5C-91C9F71C8F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8AE0476-4C31-4CA6-BCD4-48E542BBAFFC}"/>
              </a:ext>
            </a:extLst>
          </p:cNvPr>
          <p:cNvSpPr>
            <a:spLocks noGrp="1"/>
          </p:cNvSpPr>
          <p:nvPr>
            <p:ph type="dt" sz="half" idx="10"/>
          </p:nvPr>
        </p:nvSpPr>
        <p:spPr/>
        <p:txBody>
          <a:bodyPr/>
          <a:lstStyle/>
          <a:p>
            <a:fld id="{EA1BAA38-DA3B-4BDD-ADF4-BE523563107A}" type="datetimeFigureOut">
              <a:rPr lang="en-US" smtClean="0"/>
              <a:t>2/5/2024</a:t>
            </a:fld>
            <a:endParaRPr lang="en-US"/>
          </a:p>
        </p:txBody>
      </p:sp>
      <p:sp>
        <p:nvSpPr>
          <p:cNvPr id="5" name="Footer Placeholder 4">
            <a:extLst>
              <a:ext uri="{FF2B5EF4-FFF2-40B4-BE49-F238E27FC236}">
                <a16:creationId xmlns:a16="http://schemas.microsoft.com/office/drawing/2014/main" id="{AD66CD82-6B1D-4F2B-A2C0-FFAF461161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6F42DB-5AB6-4A42-AC2A-3A7F77CBFBA5}"/>
              </a:ext>
            </a:extLst>
          </p:cNvPr>
          <p:cNvSpPr>
            <a:spLocks noGrp="1"/>
          </p:cNvSpPr>
          <p:nvPr>
            <p:ph type="sldNum" sz="quarter" idx="12"/>
          </p:nvPr>
        </p:nvSpPr>
        <p:spPr/>
        <p:txBody>
          <a:bodyPr/>
          <a:lstStyle/>
          <a:p>
            <a:fld id="{B8288FF0-E161-4D39-9E50-7FA2591F3AD7}" type="slidenum">
              <a:rPr lang="en-US" smtClean="0"/>
              <a:t>‹#›</a:t>
            </a:fld>
            <a:endParaRPr lang="en-US"/>
          </a:p>
        </p:txBody>
      </p:sp>
    </p:spTree>
    <p:extLst>
      <p:ext uri="{BB962C8B-B14F-4D97-AF65-F5344CB8AC3E}">
        <p14:creationId xmlns:p14="http://schemas.microsoft.com/office/powerpoint/2010/main" val="27498746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59638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840354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64530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761145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pn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image" Target="../media/image2.emf"/><Relationship Id="rId7" Type="http://schemas.openxmlformats.org/officeDocument/2006/relationships/slideLayout" Target="../slideLayouts/slideLayout7.xml"/><Relationship Id="rId7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2"/>
            </p:custDataLst>
            <p:extLst>
              <p:ext uri="{D42A27DB-BD31-4B8C-83A1-F6EECF244321}">
                <p14:modId xmlns:p14="http://schemas.microsoft.com/office/powerpoint/2010/main" val="2445455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5" imgW="270" imgH="270" progId="TCLayout.ActiveDocument.1">
                  <p:embed/>
                </p:oleObj>
              </mc:Choice>
              <mc:Fallback>
                <p:oleObj name="think-cell Slide" r:id="rId75" imgW="270" imgH="270" progId="TCLayout.ActiveDocument.1">
                  <p:embed/>
                  <p:pic>
                    <p:nvPicPr>
                      <p:cNvPr id="2" name="Object 1" hidden="1"/>
                      <p:cNvPicPr/>
                      <p:nvPr/>
                    </p:nvPicPr>
                    <p:blipFill>
                      <a:blip r:embed="rId7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7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41209661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Layout" Target="../slideLayouts/slideLayout70.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hyperlink" Target="https://www.methuen.gov/838/MBTA-Communities-Multi-Family-Zoning" TargetMode="External"/><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www.mass.gov/onestop" TargetMode="External"/></Relationships>
</file>

<file path=ppt/slides/_rels/slide13.xml.rels><?xml version="1.0" encoding="UTF-8" standalone="yes"?>
<Relationships xmlns="http://schemas.openxmlformats.org/package/2006/relationships"><Relationship Id="rId2" Type="http://schemas.openxmlformats.org/officeDocument/2006/relationships/hyperlink" Target="http://www.mass.gov/onestop"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microsoft.com/office/2018/10/relationships/comments" Target="../comments/modernComment_7FA35BB8_3A9A4448.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brockton.ma.us/city-departments/planning/planning-the-future/" TargetMode="External"/><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D5611-11F6-48BF-A31D-F081DD0B2971}"/>
              </a:ext>
            </a:extLst>
          </p:cNvPr>
          <p:cNvSpPr>
            <a:spLocks noGrp="1"/>
          </p:cNvSpPr>
          <p:nvPr>
            <p:ph type="ctrTitle"/>
          </p:nvPr>
        </p:nvSpPr>
        <p:spPr>
          <a:xfrm>
            <a:off x="513806" y="1432471"/>
            <a:ext cx="6548845" cy="2077492"/>
          </a:xfrm>
        </p:spPr>
        <p:txBody>
          <a:bodyPr/>
          <a:lstStyle/>
          <a:p>
            <a:r>
              <a:rPr lang="en-US" sz="5000">
                <a:solidFill>
                  <a:schemeClr val="bg1"/>
                </a:solidFill>
              </a:rPr>
              <a:t>Housing Choice </a:t>
            </a:r>
            <a:br>
              <a:rPr lang="en-US" sz="5000">
                <a:solidFill>
                  <a:schemeClr val="bg1"/>
                </a:solidFill>
              </a:rPr>
            </a:br>
            <a:r>
              <a:rPr lang="en-US" sz="5000">
                <a:solidFill>
                  <a:schemeClr val="bg1"/>
                </a:solidFill>
              </a:rPr>
              <a:t>Grant Program </a:t>
            </a:r>
            <a:br>
              <a:rPr lang="en-US" sz="5000">
                <a:solidFill>
                  <a:schemeClr val="bg1"/>
                </a:solidFill>
              </a:rPr>
            </a:br>
            <a:r>
              <a:rPr lang="en-US" sz="5000">
                <a:solidFill>
                  <a:schemeClr val="bg1"/>
                </a:solidFill>
              </a:rPr>
              <a:t>Guidance Webinar</a:t>
            </a:r>
          </a:p>
        </p:txBody>
      </p:sp>
      <p:sp>
        <p:nvSpPr>
          <p:cNvPr id="3" name="Subtitle 2">
            <a:extLst>
              <a:ext uri="{FF2B5EF4-FFF2-40B4-BE49-F238E27FC236}">
                <a16:creationId xmlns:a16="http://schemas.microsoft.com/office/drawing/2014/main" id="{D296DA3C-5857-41EE-AA4F-5C0A181C401A}"/>
              </a:ext>
            </a:extLst>
          </p:cNvPr>
          <p:cNvSpPr>
            <a:spLocks noGrp="1"/>
          </p:cNvSpPr>
          <p:nvPr>
            <p:ph type="subTitle" idx="1"/>
          </p:nvPr>
        </p:nvSpPr>
        <p:spPr>
          <a:xfrm>
            <a:off x="513806" y="3602038"/>
            <a:ext cx="6548845" cy="1384995"/>
          </a:xfrm>
        </p:spPr>
        <p:txBody>
          <a:bodyPr/>
          <a:lstStyle/>
          <a:p>
            <a:r>
              <a:rPr lang="en-US">
                <a:solidFill>
                  <a:schemeClr val="bg1"/>
                </a:solidFill>
              </a:rPr>
              <a:t>Community One Stop for Growth</a:t>
            </a:r>
          </a:p>
        </p:txBody>
      </p:sp>
    </p:spTree>
    <p:extLst>
      <p:ext uri="{BB962C8B-B14F-4D97-AF65-F5344CB8AC3E}">
        <p14:creationId xmlns:p14="http://schemas.microsoft.com/office/powerpoint/2010/main" val="788155584"/>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Successful Application Example #3</a:t>
            </a:r>
          </a:p>
        </p:txBody>
      </p:sp>
      <p:graphicFrame>
        <p:nvGraphicFramePr>
          <p:cNvPr id="5" name="Table 4">
            <a:extLst>
              <a:ext uri="{FF2B5EF4-FFF2-40B4-BE49-F238E27FC236}">
                <a16:creationId xmlns:a16="http://schemas.microsoft.com/office/drawing/2014/main" id="{8D2F9C98-2070-4104-8270-F8DBDB0B4393}"/>
              </a:ext>
            </a:extLst>
          </p:cNvPr>
          <p:cNvGraphicFramePr>
            <a:graphicFrameLocks noGrp="1"/>
          </p:cNvGraphicFramePr>
          <p:nvPr>
            <p:extLst>
              <p:ext uri="{D42A27DB-BD31-4B8C-83A1-F6EECF244321}">
                <p14:modId xmlns:p14="http://schemas.microsoft.com/office/powerpoint/2010/main" val="811148225"/>
              </p:ext>
            </p:extLst>
          </p:nvPr>
        </p:nvGraphicFramePr>
        <p:xfrm>
          <a:off x="97972" y="1611242"/>
          <a:ext cx="8389856" cy="4057298"/>
        </p:xfrm>
        <a:graphic>
          <a:graphicData uri="http://schemas.openxmlformats.org/drawingml/2006/table">
            <a:tbl>
              <a:tblPr firstRow="1" bandRow="1">
                <a:tableStyleId>{2D5ABB26-0587-4C30-8999-92F81FD0307C}</a:tableStyleId>
              </a:tblPr>
              <a:tblGrid>
                <a:gridCol w="1963125">
                  <a:extLst>
                    <a:ext uri="{9D8B030D-6E8A-4147-A177-3AD203B41FA5}">
                      <a16:colId xmlns:a16="http://schemas.microsoft.com/office/drawing/2014/main" val="1413125183"/>
                    </a:ext>
                  </a:extLst>
                </a:gridCol>
                <a:gridCol w="6426731">
                  <a:extLst>
                    <a:ext uri="{9D8B030D-6E8A-4147-A177-3AD203B41FA5}">
                      <a16:colId xmlns:a16="http://schemas.microsoft.com/office/drawing/2014/main" val="1715056663"/>
                    </a:ext>
                  </a:extLst>
                </a:gridCol>
              </a:tblGrid>
              <a:tr h="482177">
                <a:tc>
                  <a:txBody>
                    <a:bodyPr/>
                    <a:lstStyle/>
                    <a:p>
                      <a:r>
                        <a:rPr lang="en-US" b="1"/>
                        <a:t>Applicant:</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en-US"/>
                        <a:t>Methuen (FY24)</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21206952"/>
                  </a:ext>
                </a:extLst>
              </a:tr>
              <a:tr h="1965133">
                <a:tc>
                  <a:txBody>
                    <a:bodyPr/>
                    <a:lstStyle/>
                    <a:p>
                      <a:r>
                        <a:rPr lang="en-US" b="1"/>
                        <a:t>Project Description:</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r>
                        <a:rPr lang="en-US" i="1"/>
                        <a:t>Planning &amp; Zoning: Zoning Revisions to Comply with 3A</a:t>
                      </a:r>
                    </a:p>
                    <a:p>
                      <a:r>
                        <a:rPr lang="en-US" i="0"/>
                        <a:t>Methuen will conduct efforts to enter into 3A compliance drafting language that will describe the new or revised districts that will meet compliance of section 3A of the state zoning law and present the proposed changes to the applicable city boards for adoption. </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046390375"/>
                  </a:ext>
                </a:extLst>
              </a:tr>
              <a:tr h="1609988">
                <a:tc>
                  <a:txBody>
                    <a:bodyPr/>
                    <a:lstStyle/>
                    <a:p>
                      <a:r>
                        <a:rPr lang="en-US" b="1"/>
                        <a:t>What Made the Project Successful:</a:t>
                      </a:r>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dirty="0"/>
                        <a:t>Demonstrated readiness to begin with clear timeline to meet grant deadline</a:t>
                      </a:r>
                    </a:p>
                    <a:p>
                      <a:pPr marL="285750" indent="-285750">
                        <a:buFont typeface="Arial" panose="020B0604020202020204" pitchFamily="34" charset="0"/>
                        <a:buChar char="•"/>
                      </a:pPr>
                      <a:r>
                        <a:rPr lang="en-US" dirty="0"/>
                        <a:t>Robust community engagement plan with clear path to implementation</a:t>
                      </a:r>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0569515"/>
                  </a:ext>
                </a:extLst>
              </a:tr>
            </a:tbl>
          </a:graphicData>
        </a:graphic>
      </p:graphicFrame>
      <p:pic>
        <p:nvPicPr>
          <p:cNvPr id="2050" name="Picture 2" descr="Header Homepage Logo 3">
            <a:extLst>
              <a:ext uri="{FF2B5EF4-FFF2-40B4-BE49-F238E27FC236}">
                <a16:creationId xmlns:a16="http://schemas.microsoft.com/office/drawing/2014/main" id="{F47C1E52-C275-7242-8F71-5D42ED2270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9856" y="2802957"/>
            <a:ext cx="3434119" cy="107602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CE63FD9F-35EB-ED30-270A-97355C31BF45}"/>
              </a:ext>
            </a:extLst>
          </p:cNvPr>
          <p:cNvSpPr txBox="1"/>
          <p:nvPr/>
        </p:nvSpPr>
        <p:spPr>
          <a:xfrm>
            <a:off x="8490846" y="4016947"/>
            <a:ext cx="3590159" cy="5486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575757"/>
                </a:solidFill>
                <a:hlinkClick r:id="rId3"/>
              </a:rPr>
              <a:t>Read about Methuen’s work here.</a:t>
            </a:r>
            <a:endParaRPr lang="en-US">
              <a:solidFill>
                <a:srgbClr val="575757"/>
              </a:solidFill>
            </a:endParaRPr>
          </a:p>
        </p:txBody>
      </p:sp>
    </p:spTree>
    <p:extLst>
      <p:ext uri="{BB962C8B-B14F-4D97-AF65-F5344CB8AC3E}">
        <p14:creationId xmlns:p14="http://schemas.microsoft.com/office/powerpoint/2010/main" val="3268649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A8716-F46A-4554-A90A-3F2B21150597}"/>
              </a:ext>
            </a:extLst>
          </p:cNvPr>
          <p:cNvSpPr>
            <a:spLocks noGrp="1"/>
          </p:cNvSpPr>
          <p:nvPr>
            <p:ph type="title"/>
          </p:nvPr>
        </p:nvSpPr>
        <p:spPr/>
        <p:txBody>
          <a:bodyPr/>
          <a:lstStyle/>
          <a:p>
            <a:r>
              <a:rPr lang="en-US"/>
              <a:t>Completing the Full Application</a:t>
            </a:r>
          </a:p>
        </p:txBody>
      </p:sp>
      <p:sp>
        <p:nvSpPr>
          <p:cNvPr id="3" name="Content Placeholder 2">
            <a:extLst>
              <a:ext uri="{FF2B5EF4-FFF2-40B4-BE49-F238E27FC236}">
                <a16:creationId xmlns:a16="http://schemas.microsoft.com/office/drawing/2014/main" id="{6E5D5441-7527-4E3C-B231-49027EB0C9D5}"/>
              </a:ext>
            </a:extLst>
          </p:cNvPr>
          <p:cNvSpPr>
            <a:spLocks noGrp="1"/>
          </p:cNvSpPr>
          <p:nvPr>
            <p:ph sz="quarter" idx="13"/>
          </p:nvPr>
        </p:nvSpPr>
        <p:spPr>
          <a:xfrm>
            <a:off x="462685" y="1297713"/>
            <a:ext cx="7144032" cy="5299197"/>
          </a:xfrm>
        </p:spPr>
        <p:txBody>
          <a:bodyPr/>
          <a:lstStyle/>
          <a:p>
            <a:pPr marL="0" indent="0">
              <a:lnSpc>
                <a:spcPct val="100000"/>
              </a:lnSpc>
              <a:buNone/>
            </a:pPr>
            <a:r>
              <a:rPr lang="en-US" b="1"/>
              <a:t>Key Question: </a:t>
            </a:r>
            <a:r>
              <a:rPr lang="en-US"/>
              <a:t>In Section 2 of the Full Application, applicants are asked to indicate the Project Category. To be reviewed by Housing Choice Grant Program, applicants should select an eligible Development Continuum category, Project Type, and Project Focus, and mark “Yes” to 2.4.a. Housing Choice Consideration.</a:t>
            </a:r>
          </a:p>
          <a:p>
            <a:pPr marL="0" indent="0">
              <a:lnSpc>
                <a:spcPct val="100000"/>
              </a:lnSpc>
              <a:buNone/>
            </a:pPr>
            <a:endParaRPr lang="en-US"/>
          </a:p>
          <a:p>
            <a:pPr>
              <a:lnSpc>
                <a:spcPct val="100000"/>
              </a:lnSpc>
            </a:pPr>
            <a:endParaRPr lang="en-US"/>
          </a:p>
          <a:p>
            <a:pPr>
              <a:lnSpc>
                <a:spcPct val="100000"/>
              </a:lnSpc>
            </a:pPr>
            <a:endParaRPr lang="en-US"/>
          </a:p>
          <a:p>
            <a:pPr>
              <a:lnSpc>
                <a:spcPct val="100000"/>
              </a:lnSpc>
            </a:pPr>
            <a:endParaRPr lang="en-US"/>
          </a:p>
          <a:p>
            <a:pPr>
              <a:lnSpc>
                <a:spcPct val="100000"/>
              </a:lnSpc>
            </a:pPr>
            <a:endParaRPr lang="en-US"/>
          </a:p>
          <a:p>
            <a:pPr marL="0" indent="0">
              <a:lnSpc>
                <a:spcPct val="100000"/>
              </a:lnSpc>
              <a:buNone/>
            </a:pPr>
            <a:endParaRPr lang="en-US" sz="1800"/>
          </a:p>
          <a:p>
            <a:pPr marL="0" indent="0">
              <a:lnSpc>
                <a:spcPct val="100000"/>
              </a:lnSpc>
              <a:buNone/>
            </a:pPr>
            <a:r>
              <a:rPr lang="en-US"/>
              <a:t>For more information on completing the Full Application, visit </a:t>
            </a:r>
            <a:r>
              <a:rPr lang="en-US" u="sng">
                <a:solidFill>
                  <a:srgbClr val="0070C0"/>
                </a:solidFill>
              </a:rPr>
              <a:t>www.mass.gov/onestop</a:t>
            </a:r>
            <a:r>
              <a:rPr lang="en-US" i="1"/>
              <a:t> </a:t>
            </a:r>
            <a:r>
              <a:rPr lang="en-US"/>
              <a:t>to view </a:t>
            </a:r>
            <a:r>
              <a:rPr lang="en-US" i="1"/>
              <a:t>One Stop Webinar 2: Application Guidance</a:t>
            </a:r>
            <a:endParaRPr lang="en-US"/>
          </a:p>
        </p:txBody>
      </p:sp>
      <p:graphicFrame>
        <p:nvGraphicFramePr>
          <p:cNvPr id="6" name="Table 6">
            <a:extLst>
              <a:ext uri="{FF2B5EF4-FFF2-40B4-BE49-F238E27FC236}">
                <a16:creationId xmlns:a16="http://schemas.microsoft.com/office/drawing/2014/main" id="{5D435308-6938-4EB1-8CB3-B0D36C42EC8A}"/>
              </a:ext>
            </a:extLst>
          </p:cNvPr>
          <p:cNvGraphicFramePr>
            <a:graphicFrameLocks noGrp="1"/>
          </p:cNvGraphicFramePr>
          <p:nvPr>
            <p:extLst>
              <p:ext uri="{D42A27DB-BD31-4B8C-83A1-F6EECF244321}">
                <p14:modId xmlns:p14="http://schemas.microsoft.com/office/powerpoint/2010/main" val="3518645758"/>
              </p:ext>
            </p:extLst>
          </p:nvPr>
        </p:nvGraphicFramePr>
        <p:xfrm>
          <a:off x="919601" y="2933197"/>
          <a:ext cx="6008351" cy="1899920"/>
        </p:xfrm>
        <a:graphic>
          <a:graphicData uri="http://schemas.openxmlformats.org/drawingml/2006/table">
            <a:tbl>
              <a:tblPr firstRow="1" bandRow="1">
                <a:tableStyleId>{2D5ABB26-0587-4C30-8999-92F81FD0307C}</a:tableStyleId>
              </a:tblPr>
              <a:tblGrid>
                <a:gridCol w="2358898">
                  <a:extLst>
                    <a:ext uri="{9D8B030D-6E8A-4147-A177-3AD203B41FA5}">
                      <a16:colId xmlns:a16="http://schemas.microsoft.com/office/drawing/2014/main" val="2484576902"/>
                    </a:ext>
                  </a:extLst>
                </a:gridCol>
                <a:gridCol w="3649453">
                  <a:extLst>
                    <a:ext uri="{9D8B030D-6E8A-4147-A177-3AD203B41FA5}">
                      <a16:colId xmlns:a16="http://schemas.microsoft.com/office/drawing/2014/main" val="182856484"/>
                    </a:ext>
                  </a:extLst>
                </a:gridCol>
              </a:tblGrid>
              <a:tr h="370840">
                <a:tc>
                  <a:txBody>
                    <a:bodyPr/>
                    <a:lstStyle/>
                    <a:p>
                      <a:r>
                        <a:rPr lang="en-US" sz="1600"/>
                        <a:t>Development Continu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a:t>{Insert Categ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17712089"/>
                  </a:ext>
                </a:extLst>
              </a:tr>
              <a:tr h="370840">
                <a:tc>
                  <a:txBody>
                    <a:bodyPr/>
                    <a:lstStyle/>
                    <a:p>
                      <a:r>
                        <a:rPr lang="en-US" sz="1600"/>
                        <a:t>Project Typ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Insert Project Typ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6301318"/>
                  </a:ext>
                </a:extLst>
              </a:tr>
              <a:tr h="370840">
                <a:tc>
                  <a:txBody>
                    <a:bodyPr/>
                    <a:lstStyle/>
                    <a:p>
                      <a:r>
                        <a:rPr lang="en-US" sz="1600"/>
                        <a:t>Project Foc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a:t>Select the most appropriate Project Focus option for your appli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0904369"/>
                  </a:ext>
                </a:extLst>
              </a:tr>
              <a:tr h="370840">
                <a:tc>
                  <a:txBody>
                    <a:bodyPr/>
                    <a:lstStyle/>
                    <a:p>
                      <a:r>
                        <a:rPr lang="en-US" sz="1600"/>
                        <a:t>Housing Choice Consider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a:t>Select “Yes” to be considered by the Housing Choice Grant Progr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36777159"/>
                  </a:ext>
                </a:extLst>
              </a:tr>
            </a:tbl>
          </a:graphicData>
        </a:graphic>
      </p:graphicFrame>
      <p:pic>
        <p:nvPicPr>
          <p:cNvPr id="8" name="Picture 7">
            <a:extLst>
              <a:ext uri="{FF2B5EF4-FFF2-40B4-BE49-F238E27FC236}">
                <a16:creationId xmlns:a16="http://schemas.microsoft.com/office/drawing/2014/main" id="{3EEB663D-660C-AE14-C4C4-C1FBAABC1E37}"/>
              </a:ext>
            </a:extLst>
          </p:cNvPr>
          <p:cNvPicPr>
            <a:picLocks noChangeAspect="1"/>
          </p:cNvPicPr>
          <p:nvPr/>
        </p:nvPicPr>
        <p:blipFill>
          <a:blip r:embed="rId2"/>
          <a:stretch>
            <a:fillRect/>
          </a:stretch>
        </p:blipFill>
        <p:spPr>
          <a:xfrm>
            <a:off x="7949824" y="1404778"/>
            <a:ext cx="3779491" cy="5371669"/>
          </a:xfrm>
          <a:prstGeom prst="rect">
            <a:avLst/>
          </a:prstGeom>
        </p:spPr>
      </p:pic>
    </p:spTree>
    <p:extLst>
      <p:ext uri="{BB962C8B-B14F-4D97-AF65-F5344CB8AC3E}">
        <p14:creationId xmlns:p14="http://schemas.microsoft.com/office/powerpoint/2010/main" val="256225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2242964" y="662882"/>
            <a:ext cx="819423" cy="595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a:solidFill>
                  <a:srgbClr val="00558C"/>
                </a:solidFill>
              </a:rPr>
              <a:t>JAN</a:t>
            </a:r>
          </a:p>
        </p:txBody>
      </p:sp>
      <p:grpSp>
        <p:nvGrpSpPr>
          <p:cNvPr id="5" name="Group 4"/>
          <p:cNvGrpSpPr/>
          <p:nvPr/>
        </p:nvGrpSpPr>
        <p:grpSpPr>
          <a:xfrm>
            <a:off x="186495" y="5656285"/>
            <a:ext cx="819423" cy="595427"/>
            <a:chOff x="322749" y="5669917"/>
            <a:chExt cx="819423" cy="595427"/>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284" y="5711661"/>
              <a:ext cx="530352" cy="511937"/>
            </a:xfrm>
            <a:prstGeom prst="rect">
              <a:avLst/>
            </a:prstGeom>
          </p:spPr>
        </p:pic>
        <p:sp>
          <p:nvSpPr>
            <p:cNvPr id="10" name="TextBox 9"/>
            <p:cNvSpPr txBox="1"/>
            <p:nvPr/>
          </p:nvSpPr>
          <p:spPr>
            <a:xfrm>
              <a:off x="322749" y="5669917"/>
              <a:ext cx="819423" cy="595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a:solidFill>
                    <a:srgbClr val="00558C"/>
                  </a:solidFill>
                </a:rPr>
                <a:t>Sept.</a:t>
              </a:r>
            </a:p>
          </p:txBody>
        </p:sp>
      </p:grpSp>
      <p:sp>
        <p:nvSpPr>
          <p:cNvPr id="4" name="Down Arrow 3"/>
          <p:cNvSpPr/>
          <p:nvPr/>
        </p:nvSpPr>
        <p:spPr>
          <a:xfrm>
            <a:off x="527277" y="2324102"/>
            <a:ext cx="137857" cy="3263839"/>
          </a:xfrm>
          <a:prstGeom prst="downArrow">
            <a:avLst/>
          </a:prstGeom>
          <a:solidFill>
            <a:srgbClr val="00558C"/>
          </a:solidFill>
          <a:ln w="9525" cap="rnd" cmpd="sng" algn="ctr">
            <a:solidFill>
              <a:srgbClr val="0055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Content Placeholder 1"/>
          <p:cNvSpPr>
            <a:spLocks noGrp="1"/>
          </p:cNvSpPr>
          <p:nvPr>
            <p:ph idx="4294967295"/>
          </p:nvPr>
        </p:nvSpPr>
        <p:spPr>
          <a:xfrm>
            <a:off x="991354" y="1728678"/>
            <a:ext cx="10704918" cy="4558912"/>
          </a:xfrm>
          <a:prstGeom prst="rect">
            <a:avLst/>
          </a:prstGeom>
        </p:spPr>
        <p:txBody>
          <a:bodyPr/>
          <a:lstStyle/>
          <a:p>
            <a:pPr lvl="1">
              <a:lnSpc>
                <a:spcPct val="100000"/>
              </a:lnSpc>
              <a:spcAft>
                <a:spcPts val="0"/>
              </a:spcAft>
            </a:pPr>
            <a:r>
              <a:rPr lang="en-US" sz="1600" b="1"/>
              <a:t>Full Application and Expression of Interest Open (January) </a:t>
            </a:r>
            <a:r>
              <a:rPr lang="en-US" sz="1600"/>
              <a:t>– The Full Application is the official form for submitting all funding requests. Applicants may now begin to work on applications in the IGX system, however applications will only be accepted during the submission period. </a:t>
            </a:r>
          </a:p>
          <a:p>
            <a:pPr lvl="1">
              <a:lnSpc>
                <a:spcPct val="100000"/>
              </a:lnSpc>
              <a:spcAft>
                <a:spcPts val="0"/>
              </a:spcAft>
            </a:pPr>
            <a:endParaRPr lang="en-US" sz="1600" b="1"/>
          </a:p>
          <a:p>
            <a:pPr lvl="1">
              <a:lnSpc>
                <a:spcPct val="100000"/>
              </a:lnSpc>
              <a:spcAft>
                <a:spcPts val="0"/>
              </a:spcAft>
            </a:pPr>
            <a:r>
              <a:rPr lang="en-US" sz="1600" b="1"/>
              <a:t>One Stop Guidance Phase (January – May) </a:t>
            </a:r>
            <a:r>
              <a:rPr lang="en-US" sz="1600"/>
              <a:t>– A series of webinars will be hosted be both the One Stop Team and staff from each program within the One Stop. In addition, office hours will be hosted to answer applicant questions. Visit </a:t>
            </a:r>
            <a:r>
              <a:rPr lang="en-US" sz="1600">
                <a:solidFill>
                  <a:srgbClr val="0070C0"/>
                </a:solidFill>
                <a:hlinkClick r:id="rId4">
                  <a:extLst>
                    <a:ext uri="{A12FA001-AC4F-418D-AE19-62706E023703}">
                      <ahyp:hlinkClr xmlns:ahyp="http://schemas.microsoft.com/office/drawing/2018/hyperlinkcolor" val="tx"/>
                    </a:ext>
                  </a:extLst>
                </a:hlinkClick>
              </a:rPr>
              <a:t>www.mass.gov/onestop</a:t>
            </a:r>
            <a:r>
              <a:rPr lang="en-US" sz="1600">
                <a:solidFill>
                  <a:srgbClr val="0070C0"/>
                </a:solidFill>
              </a:rPr>
              <a:t> </a:t>
            </a:r>
            <a:r>
              <a:rPr lang="en-US" sz="1600"/>
              <a:t>for the full schedule of webinars and office hours.</a:t>
            </a:r>
          </a:p>
          <a:p>
            <a:pPr marL="111600" lvl="1" indent="0">
              <a:lnSpc>
                <a:spcPct val="100000"/>
              </a:lnSpc>
              <a:spcAft>
                <a:spcPts val="0"/>
              </a:spcAft>
              <a:buNone/>
            </a:pPr>
            <a:endParaRPr lang="en-US" sz="1600" b="1"/>
          </a:p>
          <a:p>
            <a:pPr lvl="1">
              <a:lnSpc>
                <a:spcPct val="100000"/>
              </a:lnSpc>
              <a:spcAft>
                <a:spcPts val="0"/>
              </a:spcAft>
            </a:pPr>
            <a:r>
              <a:rPr lang="en-US" sz="1600" b="1"/>
              <a:t>Full Application Submission Period (May-June) </a:t>
            </a:r>
            <a:r>
              <a:rPr lang="en-US" sz="1600"/>
              <a:t>– Applicants may submit their Full Application(s) beginning May 6, 2024. All applications must be submitted by the </a:t>
            </a:r>
            <a:r>
              <a:rPr lang="en-US" sz="1600" b="1"/>
              <a:t>Full Application deadline of 11:59 p.m. on Wednesday, June 5</a:t>
            </a:r>
            <a:r>
              <a:rPr lang="en-US" sz="1600"/>
              <a:t>.</a:t>
            </a:r>
          </a:p>
          <a:p>
            <a:pPr lvl="1">
              <a:lnSpc>
                <a:spcPct val="100000"/>
              </a:lnSpc>
              <a:spcAft>
                <a:spcPts val="0"/>
              </a:spcAft>
            </a:pPr>
            <a:endParaRPr lang="en-US" sz="1600"/>
          </a:p>
          <a:p>
            <a:pPr lvl="1">
              <a:lnSpc>
                <a:spcPct val="100000"/>
              </a:lnSpc>
              <a:spcAft>
                <a:spcPts val="0"/>
              </a:spcAft>
            </a:pPr>
            <a:r>
              <a:rPr lang="en-US" sz="1600" b="1"/>
              <a:t>Review and Evaluation (July – August) </a:t>
            </a:r>
            <a:r>
              <a:rPr lang="en-US" sz="1600"/>
              <a:t>–</a:t>
            </a:r>
            <a:r>
              <a:rPr lang="en-US" sz="1600" b="1"/>
              <a:t> </a:t>
            </a:r>
            <a:r>
              <a:rPr lang="en-US" sz="1600"/>
              <a:t>All complete and eligible Full Applications submitted by the deadline will be reviewed and evaluated by the corresponding program managers at each state agency. The One Stop team will also conduct joint application reviews across agencies. Based on the program’s criteria, each program will prepare its list of applications recommended for funding, to be further reviewed and approved by agency and Secretariat leadership.</a:t>
            </a:r>
            <a:br>
              <a:rPr lang="en-US" sz="1600"/>
            </a:br>
            <a:endParaRPr lang="en-US" sz="1600"/>
          </a:p>
          <a:p>
            <a:pPr lvl="1">
              <a:lnSpc>
                <a:spcPct val="100000"/>
              </a:lnSpc>
              <a:spcAft>
                <a:spcPts val="0"/>
              </a:spcAft>
            </a:pPr>
            <a:r>
              <a:rPr lang="en-US" sz="1600" b="1"/>
              <a:t>Notification of Grant Decisions (September) </a:t>
            </a:r>
            <a:r>
              <a:rPr lang="en-US" sz="1600"/>
              <a:t>– Once final recommendation have been approved, applicants will be notified of grant decisions in writing, and announcement events will be scheduled. </a:t>
            </a:r>
          </a:p>
        </p:txBody>
      </p:sp>
      <p:grpSp>
        <p:nvGrpSpPr>
          <p:cNvPr id="2" name="Group 1"/>
          <p:cNvGrpSpPr/>
          <p:nvPr/>
        </p:nvGrpSpPr>
        <p:grpSpPr>
          <a:xfrm>
            <a:off x="186495" y="1728677"/>
            <a:ext cx="819423" cy="595427"/>
            <a:chOff x="343530" y="1486048"/>
            <a:chExt cx="819423" cy="595427"/>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8065" y="1527792"/>
              <a:ext cx="530352" cy="511937"/>
            </a:xfrm>
            <a:prstGeom prst="rect">
              <a:avLst/>
            </a:prstGeom>
          </p:spPr>
        </p:pic>
        <p:sp>
          <p:nvSpPr>
            <p:cNvPr id="13" name="TextBox 12"/>
            <p:cNvSpPr txBox="1"/>
            <p:nvPr/>
          </p:nvSpPr>
          <p:spPr>
            <a:xfrm>
              <a:off x="343530" y="1486048"/>
              <a:ext cx="819423" cy="595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a:solidFill>
                    <a:srgbClr val="00558C"/>
                  </a:solidFill>
                </a:rPr>
                <a:t>Jan.</a:t>
              </a:r>
            </a:p>
          </p:txBody>
        </p:sp>
      </p:grpSp>
      <p:sp>
        <p:nvSpPr>
          <p:cNvPr id="15" name="Title 1">
            <a:extLst>
              <a:ext uri="{FF2B5EF4-FFF2-40B4-BE49-F238E27FC236}">
                <a16:creationId xmlns:a16="http://schemas.microsoft.com/office/drawing/2014/main" id="{5DACBF68-A759-4F00-AFCF-3F9E0746D382}"/>
              </a:ext>
            </a:extLst>
          </p:cNvPr>
          <p:cNvSpPr>
            <a:spLocks noGrp="1"/>
          </p:cNvSpPr>
          <p:nvPr>
            <p:ph type="title"/>
          </p:nvPr>
        </p:nvSpPr>
        <p:spPr>
          <a:xfrm>
            <a:off x="462685" y="606288"/>
            <a:ext cx="10117513" cy="470898"/>
          </a:xfrm>
        </p:spPr>
        <p:txBody>
          <a:bodyPr/>
          <a:lstStyle/>
          <a:p>
            <a:r>
              <a:rPr lang="en-US"/>
              <a:t>FY25 Round Timeline</a:t>
            </a:r>
          </a:p>
        </p:txBody>
      </p:sp>
    </p:spTree>
    <p:extLst>
      <p:ext uri="{BB962C8B-B14F-4D97-AF65-F5344CB8AC3E}">
        <p14:creationId xmlns:p14="http://schemas.microsoft.com/office/powerpoint/2010/main" val="18398028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B959E-4B67-4A0E-8365-97E398C3EC2A}"/>
              </a:ext>
            </a:extLst>
          </p:cNvPr>
          <p:cNvSpPr>
            <a:spLocks noGrp="1"/>
          </p:cNvSpPr>
          <p:nvPr>
            <p:ph type="title"/>
          </p:nvPr>
        </p:nvSpPr>
        <p:spPr/>
        <p:txBody>
          <a:bodyPr/>
          <a:lstStyle/>
          <a:p>
            <a:r>
              <a:rPr lang="en-US"/>
              <a:t>Opportunities for Guidance</a:t>
            </a:r>
          </a:p>
        </p:txBody>
      </p:sp>
      <p:sp>
        <p:nvSpPr>
          <p:cNvPr id="3" name="Content Placeholder 2">
            <a:extLst>
              <a:ext uri="{FF2B5EF4-FFF2-40B4-BE49-F238E27FC236}">
                <a16:creationId xmlns:a16="http://schemas.microsoft.com/office/drawing/2014/main" id="{3B217499-4FFC-4C40-B035-304E62F129AF}"/>
              </a:ext>
            </a:extLst>
          </p:cNvPr>
          <p:cNvSpPr>
            <a:spLocks noGrp="1"/>
          </p:cNvSpPr>
          <p:nvPr>
            <p:ph sz="quarter" idx="13"/>
          </p:nvPr>
        </p:nvSpPr>
        <p:spPr>
          <a:xfrm>
            <a:off x="545668" y="1418914"/>
            <a:ext cx="11100664" cy="5125577"/>
          </a:xfrm>
        </p:spPr>
        <p:txBody>
          <a:bodyPr/>
          <a:lstStyle/>
          <a:p>
            <a:pPr marL="0" indent="0">
              <a:buNone/>
            </a:pPr>
            <a:r>
              <a:rPr lang="en-US"/>
              <a:t>Visit </a:t>
            </a:r>
            <a:r>
              <a:rPr lang="en-US">
                <a:solidFill>
                  <a:srgbClr val="0070C0"/>
                </a:solidFill>
                <a:hlinkClick r:id="rId2">
                  <a:extLst>
                    <a:ext uri="{A12FA001-AC4F-418D-AE19-62706E023703}">
                      <ahyp:hlinkClr xmlns:ahyp="http://schemas.microsoft.com/office/drawing/2018/hyperlinkcolor" val="tx"/>
                    </a:ext>
                  </a:extLst>
                </a:hlinkClick>
              </a:rPr>
              <a:t>www.mass.gov/onestop</a:t>
            </a:r>
            <a:r>
              <a:rPr lang="en-US">
                <a:solidFill>
                  <a:srgbClr val="0070C0"/>
                </a:solidFill>
              </a:rPr>
              <a:t> </a:t>
            </a:r>
            <a:r>
              <a:rPr lang="en-US"/>
              <a:t>for more information on:</a:t>
            </a:r>
          </a:p>
          <a:p>
            <a:r>
              <a:rPr lang="en-US" b="1"/>
              <a:t>Expression of Interest</a:t>
            </a:r>
          </a:p>
          <a:p>
            <a:pPr marL="801688">
              <a:lnSpc>
                <a:spcPct val="100000"/>
              </a:lnSpc>
              <a:spcBef>
                <a:spcPts val="0"/>
              </a:spcBef>
              <a:buFont typeface="Courier New" panose="02070309020205020404" pitchFamily="49" charset="0"/>
              <a:buChar char="o"/>
            </a:pPr>
            <a:r>
              <a:rPr lang="en-US" sz="1800"/>
              <a:t>Complete an Expression of Interest form to see if your project(s) is eligible for funding through the One Stop and get tips for preparing your application</a:t>
            </a:r>
          </a:p>
          <a:p>
            <a:r>
              <a:rPr lang="en-US" b="1"/>
              <a:t>One Stop and Program Webinars</a:t>
            </a:r>
          </a:p>
          <a:p>
            <a:pPr marL="801688">
              <a:lnSpc>
                <a:spcPct val="100000"/>
              </a:lnSpc>
              <a:spcBef>
                <a:spcPts val="0"/>
              </a:spcBef>
              <a:buFont typeface="Courier New" panose="02070309020205020404" pitchFamily="49" charset="0"/>
              <a:buChar char="o"/>
            </a:pPr>
            <a:r>
              <a:rPr lang="en-US" sz="1800"/>
              <a:t>Recordings of all One Stop webinars are now available on the One Stop website</a:t>
            </a:r>
          </a:p>
          <a:p>
            <a:r>
              <a:rPr lang="en-US" b="1"/>
              <a:t>Office Hours</a:t>
            </a:r>
          </a:p>
          <a:p>
            <a:pPr marL="801688">
              <a:lnSpc>
                <a:spcPct val="100000"/>
              </a:lnSpc>
              <a:spcBef>
                <a:spcPts val="0"/>
              </a:spcBef>
              <a:buFont typeface="Courier New" panose="02070309020205020404" pitchFamily="49" charset="0"/>
              <a:buChar char="o"/>
            </a:pPr>
            <a:r>
              <a:rPr lang="en-US" sz="1800" b="1"/>
              <a:t>One Stop General Guidance Office Hours </a:t>
            </a:r>
            <a:r>
              <a:rPr lang="en-US" sz="1800"/>
              <a:t>– One Stop staff will hold office hours to discuss general One Stop process and technology questions</a:t>
            </a:r>
          </a:p>
          <a:p>
            <a:pPr marL="801688">
              <a:lnSpc>
                <a:spcPct val="100000"/>
              </a:lnSpc>
              <a:spcBef>
                <a:spcPts val="0"/>
              </a:spcBef>
              <a:buFont typeface="Courier New" panose="02070309020205020404" pitchFamily="49" charset="0"/>
              <a:buChar char="o"/>
            </a:pPr>
            <a:r>
              <a:rPr lang="en-US" sz="1800" b="1"/>
              <a:t>Program Office Hours </a:t>
            </a:r>
            <a:r>
              <a:rPr lang="en-US" sz="1800"/>
              <a:t>– Staff from each program will hold an office hour to answer applicant questions related to the program</a:t>
            </a:r>
          </a:p>
          <a:p>
            <a:pPr marL="1254125">
              <a:lnSpc>
                <a:spcPct val="100000"/>
              </a:lnSpc>
              <a:spcBef>
                <a:spcPts val="0"/>
              </a:spcBef>
              <a:buFont typeface="Courier New" panose="02070309020205020404" pitchFamily="49" charset="0"/>
              <a:buChar char="o"/>
            </a:pPr>
            <a:r>
              <a:rPr lang="en-US" sz="1800"/>
              <a:t>Housing Choice Grant Program’s office hours will be held on Thursday, March 14 at 3:00PM – 5:00PM</a:t>
            </a:r>
          </a:p>
        </p:txBody>
      </p:sp>
    </p:spTree>
    <p:extLst>
      <p:ext uri="{BB962C8B-B14F-4D97-AF65-F5344CB8AC3E}">
        <p14:creationId xmlns:p14="http://schemas.microsoft.com/office/powerpoint/2010/main" val="1567911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13340-4255-43E1-B0A9-D616723BEE8D}"/>
              </a:ext>
            </a:extLst>
          </p:cNvPr>
          <p:cNvSpPr>
            <a:spLocks noGrp="1"/>
          </p:cNvSpPr>
          <p:nvPr>
            <p:ph type="title"/>
          </p:nvPr>
        </p:nvSpPr>
        <p:spPr>
          <a:xfrm>
            <a:off x="462685" y="606288"/>
            <a:ext cx="10362069" cy="470898"/>
          </a:xfrm>
        </p:spPr>
        <p:txBody>
          <a:bodyPr/>
          <a:lstStyle/>
          <a:p>
            <a:r>
              <a:rPr lang="en-US"/>
              <a:t>Road Map</a:t>
            </a:r>
          </a:p>
        </p:txBody>
      </p:sp>
      <p:sp>
        <p:nvSpPr>
          <p:cNvPr id="3" name="Content Placeholder 2">
            <a:extLst>
              <a:ext uri="{FF2B5EF4-FFF2-40B4-BE49-F238E27FC236}">
                <a16:creationId xmlns:a16="http://schemas.microsoft.com/office/drawing/2014/main" id="{FF7B386A-E787-439C-9721-63BAB1B0C10D}"/>
              </a:ext>
            </a:extLst>
          </p:cNvPr>
          <p:cNvSpPr>
            <a:spLocks noGrp="1"/>
          </p:cNvSpPr>
          <p:nvPr>
            <p:ph sz="quarter" idx="13"/>
          </p:nvPr>
        </p:nvSpPr>
        <p:spPr>
          <a:xfrm>
            <a:off x="462685" y="1412583"/>
            <a:ext cx="11036732" cy="5057886"/>
          </a:xfrm>
        </p:spPr>
        <p:txBody>
          <a:bodyPr/>
          <a:lstStyle/>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What is the Community One Stop for Growth?</a:t>
            </a:r>
          </a:p>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Housing Choice (HC) Grant Program Overview</a:t>
            </a:r>
          </a:p>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Where does HC Fit in the One Stop?</a:t>
            </a:r>
          </a:p>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Important HC Parameters</a:t>
            </a:r>
          </a:p>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How to Be Competitive</a:t>
            </a:r>
          </a:p>
          <a:p>
            <a:pPr marL="1376363" marR="0" lvl="0">
              <a:lnSpc>
                <a:spcPct val="107000"/>
              </a:lnSpc>
              <a:spcBef>
                <a:spcPts val="1200"/>
              </a:spcBef>
              <a:spcAft>
                <a:spcPts val="0"/>
              </a:spcAft>
              <a:buFont typeface="+mj-lt"/>
              <a:buAutoNum type="arabicPeriod"/>
            </a:pPr>
            <a:r>
              <a:rPr lang="en-US">
                <a:effectLst/>
                <a:latin typeface="Calibri" panose="020F0502020204030204" pitchFamily="34" charset="0"/>
                <a:ea typeface="Calibri" panose="020F0502020204030204" pitchFamily="34" charset="0"/>
                <a:cs typeface="Times New Roman" panose="02020603050405020304" pitchFamily="18" charset="0"/>
              </a:rPr>
              <a:t>Examples of Successful Applications</a:t>
            </a:r>
          </a:p>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Completing the Full Application</a:t>
            </a:r>
          </a:p>
          <a:p>
            <a:pPr marL="1376363" marR="0" lvl="0">
              <a:lnSpc>
                <a:spcPct val="107000"/>
              </a:lnSpc>
              <a:spcBef>
                <a:spcPts val="1200"/>
              </a:spcBef>
              <a:spcAft>
                <a:spcPts val="0"/>
              </a:spcAft>
              <a:buFont typeface="+mj-lt"/>
              <a:buAutoNum type="arabicPeriod"/>
            </a:pPr>
            <a:r>
              <a:rPr lang="en-US">
                <a:effectLst/>
                <a:latin typeface="Calibri" panose="020F0502020204030204" pitchFamily="34" charset="0"/>
                <a:ea typeface="Calibri" panose="020F0502020204030204" pitchFamily="34" charset="0"/>
                <a:cs typeface="Times New Roman" panose="02020603050405020304" pitchFamily="18" charset="0"/>
              </a:rPr>
              <a:t>Key Dates and </a:t>
            </a:r>
            <a:r>
              <a:rPr lang="en-US">
                <a:latin typeface="Calibri" panose="020F0502020204030204" pitchFamily="34" charset="0"/>
                <a:ea typeface="Calibri" panose="020F0502020204030204" pitchFamily="34" charset="0"/>
                <a:cs typeface="Times New Roman" panose="02020603050405020304" pitchFamily="18" charset="0"/>
              </a:rPr>
              <a:t>Opportunities to Get Guidance</a:t>
            </a:r>
            <a:endParaRPr lang="en-US" sz="1800"/>
          </a:p>
        </p:txBody>
      </p:sp>
    </p:spTree>
    <p:extLst>
      <p:ext uri="{BB962C8B-B14F-4D97-AF65-F5344CB8AC3E}">
        <p14:creationId xmlns:p14="http://schemas.microsoft.com/office/powerpoint/2010/main" val="4130341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8EC27-41DE-4619-BC6A-200BEE1F5921}"/>
              </a:ext>
            </a:extLst>
          </p:cNvPr>
          <p:cNvSpPr>
            <a:spLocks noGrp="1"/>
          </p:cNvSpPr>
          <p:nvPr>
            <p:ph type="title"/>
          </p:nvPr>
        </p:nvSpPr>
        <p:spPr/>
        <p:txBody>
          <a:bodyPr/>
          <a:lstStyle/>
          <a:p>
            <a:r>
              <a:rPr lang="en-US"/>
              <a:t>What is the Community One Stop for Growth?</a:t>
            </a:r>
          </a:p>
        </p:txBody>
      </p:sp>
      <p:sp>
        <p:nvSpPr>
          <p:cNvPr id="3" name="Content Placeholder 2">
            <a:extLst>
              <a:ext uri="{FF2B5EF4-FFF2-40B4-BE49-F238E27FC236}">
                <a16:creationId xmlns:a16="http://schemas.microsoft.com/office/drawing/2014/main" id="{A547D4F8-A673-45D5-BFA3-6F2E83EEC15D}"/>
              </a:ext>
            </a:extLst>
          </p:cNvPr>
          <p:cNvSpPr>
            <a:spLocks noGrp="1"/>
          </p:cNvSpPr>
          <p:nvPr>
            <p:ph sz="quarter" idx="13"/>
          </p:nvPr>
        </p:nvSpPr>
        <p:spPr>
          <a:xfrm>
            <a:off x="367759" y="1495956"/>
            <a:ext cx="8249071" cy="2556350"/>
          </a:xfrm>
        </p:spPr>
        <p:txBody>
          <a:bodyPr/>
          <a:lstStyle/>
          <a:p>
            <a:pPr marL="0" indent="0" algn="ctr">
              <a:lnSpc>
                <a:spcPct val="100000"/>
              </a:lnSpc>
              <a:buNone/>
            </a:pPr>
            <a:r>
              <a:rPr lang="en-US">
                <a:solidFill>
                  <a:schemeClr val="tx1"/>
                </a:solidFill>
              </a:rPr>
              <a:t>The </a:t>
            </a:r>
            <a:r>
              <a:rPr lang="en-US"/>
              <a:t>Community One Stop for Growth </a:t>
            </a:r>
            <a:r>
              <a:rPr lang="en-US">
                <a:solidFill>
                  <a:schemeClr val="tx1"/>
                </a:solidFill>
              </a:rPr>
              <a:t>is the main driver of economic development in the Commonwealth. </a:t>
            </a:r>
          </a:p>
          <a:p>
            <a:pPr marL="0" indent="0">
              <a:lnSpc>
                <a:spcPct val="100000"/>
              </a:lnSpc>
              <a:buNone/>
            </a:pPr>
            <a:endParaRPr lang="en-US" sz="1800"/>
          </a:p>
          <a:p>
            <a:pPr marL="0" indent="0">
              <a:lnSpc>
                <a:spcPct val="100000"/>
              </a:lnSpc>
              <a:buNone/>
            </a:pPr>
            <a:r>
              <a:rPr lang="en-US"/>
              <a:t>The One Stop is a </a:t>
            </a:r>
            <a:r>
              <a:rPr lang="en-US" b="1"/>
              <a:t>single application portal </a:t>
            </a:r>
            <a:r>
              <a:rPr lang="en-US"/>
              <a:t>and</a:t>
            </a:r>
            <a:r>
              <a:rPr lang="en-US" b="1"/>
              <a:t> collaborative review process </a:t>
            </a:r>
            <a:r>
              <a:rPr lang="en-US"/>
              <a:t>designed to </a:t>
            </a:r>
            <a:r>
              <a:rPr lang="en-US" b="1" kern="0">
                <a:latin typeface="+mj-lt"/>
                <a:cs typeface="Arial"/>
              </a:rPr>
              <a:t>streamline the experience </a:t>
            </a:r>
            <a:r>
              <a:rPr lang="en-US" kern="0">
                <a:latin typeface="+mj-lt"/>
                <a:cs typeface="Arial"/>
              </a:rPr>
              <a:t>for the applicant and </a:t>
            </a:r>
            <a:r>
              <a:rPr lang="en-US" b="1" kern="0">
                <a:latin typeface="+mj-lt"/>
                <a:cs typeface="Arial"/>
              </a:rPr>
              <a:t>better coordinate</a:t>
            </a:r>
            <a:r>
              <a:rPr lang="en-US" kern="0">
                <a:latin typeface="+mj-lt"/>
                <a:cs typeface="Arial"/>
              </a:rPr>
              <a:t> economic development programs and staff on engagement and grant making.</a:t>
            </a:r>
          </a:p>
        </p:txBody>
      </p:sp>
      <p:pic>
        <p:nvPicPr>
          <p:cNvPr id="4" name="Picture 3" descr="Logo&#10;&#10;Description automatically generated">
            <a:extLst>
              <a:ext uri="{FF2B5EF4-FFF2-40B4-BE49-F238E27FC236}">
                <a16:creationId xmlns:a16="http://schemas.microsoft.com/office/drawing/2014/main" id="{190455E0-332A-4349-90D5-A32CD8488E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16830" y="1617652"/>
            <a:ext cx="3207411" cy="1811348"/>
          </a:xfrm>
          <a:prstGeom prst="rect">
            <a:avLst/>
          </a:prstGeom>
        </p:spPr>
      </p:pic>
      <p:graphicFrame>
        <p:nvGraphicFramePr>
          <p:cNvPr id="5" name="Table 5">
            <a:extLst>
              <a:ext uri="{FF2B5EF4-FFF2-40B4-BE49-F238E27FC236}">
                <a16:creationId xmlns:a16="http://schemas.microsoft.com/office/drawing/2014/main" id="{6A658386-8272-4917-AC28-3DFE1A03B1E2}"/>
              </a:ext>
            </a:extLst>
          </p:cNvPr>
          <p:cNvGraphicFramePr>
            <a:graphicFrameLocks noGrp="1"/>
          </p:cNvGraphicFramePr>
          <p:nvPr>
            <p:extLst>
              <p:ext uri="{D42A27DB-BD31-4B8C-83A1-F6EECF244321}">
                <p14:modId xmlns:p14="http://schemas.microsoft.com/office/powerpoint/2010/main" val="2106209818"/>
              </p:ext>
            </p:extLst>
          </p:nvPr>
        </p:nvGraphicFramePr>
        <p:xfrm>
          <a:off x="367759" y="4292875"/>
          <a:ext cx="11456482" cy="2048630"/>
        </p:xfrm>
        <a:graphic>
          <a:graphicData uri="http://schemas.openxmlformats.org/drawingml/2006/table">
            <a:tbl>
              <a:tblPr firstRow="1" bandRow="1">
                <a:tableStyleId>{5C22544A-7EE6-4342-B048-85BDC9FD1C3A}</a:tableStyleId>
              </a:tblPr>
              <a:tblGrid>
                <a:gridCol w="3829772">
                  <a:extLst>
                    <a:ext uri="{9D8B030D-6E8A-4147-A177-3AD203B41FA5}">
                      <a16:colId xmlns:a16="http://schemas.microsoft.com/office/drawing/2014/main" val="1292545910"/>
                    </a:ext>
                  </a:extLst>
                </a:gridCol>
                <a:gridCol w="3936275">
                  <a:extLst>
                    <a:ext uri="{9D8B030D-6E8A-4147-A177-3AD203B41FA5}">
                      <a16:colId xmlns:a16="http://schemas.microsoft.com/office/drawing/2014/main" val="3226874598"/>
                    </a:ext>
                  </a:extLst>
                </a:gridCol>
                <a:gridCol w="3690435">
                  <a:extLst>
                    <a:ext uri="{9D8B030D-6E8A-4147-A177-3AD203B41FA5}">
                      <a16:colId xmlns:a16="http://schemas.microsoft.com/office/drawing/2014/main" val="2670231396"/>
                    </a:ext>
                  </a:extLst>
                </a:gridCol>
              </a:tblGrid>
              <a:tr h="672207">
                <a:tc>
                  <a:txBody>
                    <a:bodyPr/>
                    <a:lstStyle/>
                    <a:p>
                      <a:pPr algn="ctr">
                        <a:lnSpc>
                          <a:spcPct val="100000"/>
                        </a:lnSpc>
                        <a:spcBef>
                          <a:spcPts val="0"/>
                        </a:spcBef>
                        <a:spcAft>
                          <a:spcPts val="0"/>
                        </a:spcAft>
                        <a:buFont typeface="Arial" panose="020B0604020202020204" pitchFamily="34" charset="0"/>
                        <a:buNone/>
                      </a:pPr>
                      <a:r>
                        <a:rPr lang="en-US" sz="1600" b="1">
                          <a:solidFill>
                            <a:schemeClr val="bg1"/>
                          </a:solidFill>
                          <a:cs typeface="Calibri" panose="020F0502020204030204" pitchFamily="34" charset="0"/>
                        </a:rPr>
                        <a:t>Executive Office of Economic Develop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00558C"/>
                    </a:solidFill>
                  </a:tcPr>
                </a:tc>
                <a:tc>
                  <a:txBody>
                    <a:bodyPr/>
                    <a:lstStyle/>
                    <a:p>
                      <a:pPr algn="ctr">
                        <a:lnSpc>
                          <a:spcPct val="100000"/>
                        </a:lnSpc>
                        <a:spcBef>
                          <a:spcPts val="0"/>
                        </a:spcBef>
                        <a:spcAft>
                          <a:spcPts val="0"/>
                        </a:spcAft>
                        <a:buFont typeface="Arial" panose="020B0604020202020204" pitchFamily="34" charset="0"/>
                        <a:buNone/>
                      </a:pPr>
                      <a:r>
                        <a:rPr lang="en-US" sz="1600" b="1">
                          <a:solidFill>
                            <a:schemeClr val="bg1"/>
                          </a:solidFill>
                          <a:cs typeface="Calibri" panose="020F0502020204030204" pitchFamily="34" charset="0"/>
                        </a:rPr>
                        <a:t>MassDevelopment Finance Agenc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00558C"/>
                    </a:solidFill>
                  </a:tcPr>
                </a:tc>
                <a:tc>
                  <a:txBody>
                    <a:bodyPr/>
                    <a:lstStyle/>
                    <a:p>
                      <a:pPr algn="ctr">
                        <a:lnSpc>
                          <a:spcPct val="100000"/>
                        </a:lnSpc>
                        <a:spcBef>
                          <a:spcPts val="0"/>
                        </a:spcBef>
                        <a:spcAft>
                          <a:spcPts val="0"/>
                        </a:spcAft>
                        <a:buFont typeface="Arial" panose="020B0604020202020204" pitchFamily="34" charset="0"/>
                        <a:buNone/>
                      </a:pPr>
                      <a:r>
                        <a:rPr lang="en-US" sz="1600" b="1">
                          <a:solidFill>
                            <a:schemeClr val="bg1"/>
                          </a:solidFill>
                          <a:cs typeface="Calibri" panose="020F0502020204030204" pitchFamily="34" charset="0"/>
                        </a:rPr>
                        <a:t>Executive Office of Housing and Livable Communit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00558C"/>
                    </a:solidFill>
                  </a:tcPr>
                </a:tc>
                <a:extLst>
                  <a:ext uri="{0D108BD9-81ED-4DB2-BD59-A6C34878D82A}">
                    <a16:rowId xmlns:a16="http://schemas.microsoft.com/office/drawing/2014/main" val="2017105893"/>
                  </a:ext>
                </a:extLst>
              </a:tr>
              <a:tr h="1376423">
                <a:tc>
                  <a:txBody>
                    <a:bodyPr/>
                    <a:lstStyle/>
                    <a:p>
                      <a:pPr marL="285750" lvl="1" indent="-285750">
                        <a:lnSpc>
                          <a:spcPct val="100000"/>
                        </a:lnSpc>
                        <a:spcAft>
                          <a:spcPts val="0"/>
                        </a:spcAft>
                        <a:buFont typeface="Arial" panose="020B0604020202020204" pitchFamily="34" charset="0"/>
                        <a:buChar char="•"/>
                      </a:pPr>
                      <a:r>
                        <a:rPr lang="en-US" sz="1600" err="1">
                          <a:solidFill>
                            <a:schemeClr val="tx1"/>
                          </a:solidFill>
                          <a:cs typeface="Calibri" panose="020F0502020204030204" pitchFamily="34" charset="0"/>
                        </a:rPr>
                        <a:t>MassWorks</a:t>
                      </a:r>
                      <a:r>
                        <a:rPr lang="en-US" sz="1600">
                          <a:solidFill>
                            <a:schemeClr val="tx1"/>
                          </a:solidFill>
                          <a:cs typeface="Calibri" panose="020F0502020204030204" pitchFamily="34" charset="0"/>
                        </a:rPr>
                        <a:t> Infrastructure Program</a:t>
                      </a:r>
                    </a:p>
                    <a:p>
                      <a:pPr marL="285750" lvl="1" indent="-28575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Rural Development Fund</a:t>
                      </a:r>
                    </a:p>
                    <a:p>
                      <a:pPr marL="285750" lvl="1" indent="-28575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Urban Agenda Grant Program</a:t>
                      </a:r>
                    </a:p>
                    <a:p>
                      <a:pPr marL="285750" lvl="1" indent="-28575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Massachusetts Downtown Initi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Underutilized Properties Program</a:t>
                      </a:r>
                    </a:p>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Site Readiness Program</a:t>
                      </a:r>
                    </a:p>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Collaborative Workspaces Program</a:t>
                      </a:r>
                    </a:p>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Brownfields Redevelopment Fund</a:t>
                      </a:r>
                    </a:p>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Real Estate Services Technical Assist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lvl="1" indent="-28575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HousingWorks Infrastructure Program</a:t>
                      </a:r>
                    </a:p>
                    <a:p>
                      <a:pPr marL="285750" lvl="1" indent="-28575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Housing Choice Grant Program</a:t>
                      </a:r>
                    </a:p>
                    <a:p>
                      <a:pPr marL="285750" lvl="1" indent="-28575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Community Planning Grants Program</a:t>
                      </a:r>
                    </a:p>
                    <a:p>
                      <a:pPr marL="285750" indent="-285750">
                        <a:buFont typeface="Arial" panose="020B0604020202020204" pitchFamily="34" charset="0"/>
                        <a:buChar char="•"/>
                      </a:pPr>
                      <a:endParaRPr 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49819551"/>
                  </a:ext>
                </a:extLst>
              </a:tr>
            </a:tbl>
          </a:graphicData>
        </a:graphic>
      </p:graphicFrame>
    </p:spTree>
    <p:extLst>
      <p:ext uri="{BB962C8B-B14F-4D97-AF65-F5344CB8AC3E}">
        <p14:creationId xmlns:p14="http://schemas.microsoft.com/office/powerpoint/2010/main" val="502937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43C95-F95B-474A-A7A6-F8FF5242919A}"/>
              </a:ext>
            </a:extLst>
          </p:cNvPr>
          <p:cNvSpPr>
            <a:spLocks noGrp="1"/>
          </p:cNvSpPr>
          <p:nvPr>
            <p:ph type="title"/>
          </p:nvPr>
        </p:nvSpPr>
        <p:spPr/>
        <p:txBody>
          <a:bodyPr/>
          <a:lstStyle/>
          <a:p>
            <a:r>
              <a:rPr lang="en-US"/>
              <a:t>Housing Choice Grant Program Overview</a:t>
            </a:r>
          </a:p>
        </p:txBody>
      </p:sp>
      <p:graphicFrame>
        <p:nvGraphicFramePr>
          <p:cNvPr id="4" name="Table 3">
            <a:extLst>
              <a:ext uri="{FF2B5EF4-FFF2-40B4-BE49-F238E27FC236}">
                <a16:creationId xmlns:a16="http://schemas.microsoft.com/office/drawing/2014/main" id="{13538A0A-A7A9-4441-A99B-48E577B1ACB5}"/>
              </a:ext>
            </a:extLst>
          </p:cNvPr>
          <p:cNvGraphicFramePr>
            <a:graphicFrameLocks noGrp="1"/>
          </p:cNvGraphicFramePr>
          <p:nvPr>
            <p:extLst>
              <p:ext uri="{D42A27DB-BD31-4B8C-83A1-F6EECF244321}">
                <p14:modId xmlns:p14="http://schemas.microsoft.com/office/powerpoint/2010/main" val="4233417427"/>
              </p:ext>
            </p:extLst>
          </p:nvPr>
        </p:nvGraphicFramePr>
        <p:xfrm>
          <a:off x="153896" y="1621269"/>
          <a:ext cx="11884207" cy="4130728"/>
        </p:xfrm>
        <a:graphic>
          <a:graphicData uri="http://schemas.openxmlformats.org/drawingml/2006/table">
            <a:tbl>
              <a:tblPr firstRow="1" bandRow="1">
                <a:tableStyleId>{2D5ABB26-0587-4C30-8999-92F81FD0307C}</a:tableStyleId>
              </a:tblPr>
              <a:tblGrid>
                <a:gridCol w="2076852">
                  <a:extLst>
                    <a:ext uri="{9D8B030D-6E8A-4147-A177-3AD203B41FA5}">
                      <a16:colId xmlns:a16="http://schemas.microsoft.com/office/drawing/2014/main" val="2585012129"/>
                    </a:ext>
                  </a:extLst>
                </a:gridCol>
                <a:gridCol w="9807355">
                  <a:extLst>
                    <a:ext uri="{9D8B030D-6E8A-4147-A177-3AD203B41FA5}">
                      <a16:colId xmlns:a16="http://schemas.microsoft.com/office/drawing/2014/main" val="1726328295"/>
                    </a:ext>
                  </a:extLst>
                </a:gridCol>
              </a:tblGrid>
              <a:tr h="6540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kern="1200">
                          <a:solidFill>
                            <a:schemeClr val="bg1"/>
                          </a:solidFill>
                          <a:latin typeface="+mn-lt"/>
                          <a:ea typeface="+mn-ea"/>
                          <a:cs typeface="+mn-cs"/>
                        </a:rPr>
                        <a:t>Program Staff</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27013" lvl="4" indent="0" algn="l" defTabSz="914400" rtl="0" eaLnBrk="1" latinLnBrk="0" hangingPunct="1">
                        <a:spcBef>
                          <a:spcPts val="0"/>
                        </a:spcBef>
                        <a:spcAft>
                          <a:spcPts val="0"/>
                        </a:spcAft>
                        <a:buFont typeface="Arial" panose="020B0604020202020204" pitchFamily="34" charset="0"/>
                        <a:buNone/>
                      </a:pPr>
                      <a:r>
                        <a:rPr lang="en-US" sz="1800" b="0" kern="1200">
                          <a:solidFill>
                            <a:schemeClr val="tx1"/>
                          </a:solidFill>
                          <a:latin typeface="+mn-lt"/>
                          <a:ea typeface="+mn-ea"/>
                          <a:cs typeface="+mn-cs"/>
                        </a:rPr>
                        <a:t>McKenzie Bell, Senior Community Grants Coordinator (McKenzie.Bell@mass.gov)</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2487340"/>
                  </a:ext>
                </a:extLst>
              </a:tr>
              <a:tr h="2013641">
                <a:tc>
                  <a:txBody>
                    <a:bodyPr/>
                    <a:lstStyle/>
                    <a:p>
                      <a:pPr algn="ctr">
                        <a:spcBef>
                          <a:spcPts val="0"/>
                        </a:spcBef>
                      </a:pPr>
                      <a:r>
                        <a:rPr lang="en-US" sz="2000" b="1">
                          <a:solidFill>
                            <a:schemeClr val="bg1"/>
                          </a:solidFill>
                        </a:rPr>
                        <a:t>What is the Purpose of the Progra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27013" lvl="4" indent="0" algn="l" defTabSz="914400" rtl="0" eaLnBrk="1" latinLnBrk="0" hangingPunct="1">
                        <a:spcBef>
                          <a:spcPts val="0"/>
                        </a:spcBef>
                        <a:spcAft>
                          <a:spcPts val="0"/>
                        </a:spcAft>
                        <a:buFont typeface="Arial" panose="020B0604020202020204" pitchFamily="34" charset="0"/>
                        <a:buNone/>
                      </a:pPr>
                      <a:r>
                        <a:rPr lang="en-US" sz="1800" b="0" kern="1200">
                          <a:solidFill>
                            <a:schemeClr val="tx1"/>
                          </a:solidFill>
                          <a:latin typeface="+mn-lt"/>
                          <a:ea typeface="+mn-ea"/>
                          <a:cs typeface="+mn-cs"/>
                        </a:rPr>
                        <a:t>Exclusive grant program for currently designated Housing Choice Communities (HCCs)</a:t>
                      </a:r>
                    </a:p>
                    <a:p>
                      <a:pPr marL="227013" lvl="4" indent="0" algn="l" defTabSz="914400" rtl="0" eaLnBrk="1" latinLnBrk="0" hangingPunct="1">
                        <a:spcBef>
                          <a:spcPts val="0"/>
                        </a:spcBef>
                        <a:spcAft>
                          <a:spcPts val="0"/>
                        </a:spcAft>
                        <a:buFont typeface="Arial" panose="020B0604020202020204" pitchFamily="34" charset="0"/>
                        <a:buNone/>
                      </a:pPr>
                      <a:endParaRPr lang="en-US" sz="1800" b="0" kern="1200">
                        <a:solidFill>
                          <a:schemeClr val="tx1"/>
                        </a:solidFill>
                        <a:latin typeface="+mn-lt"/>
                        <a:ea typeface="+mn-ea"/>
                        <a:cs typeface="+mn-cs"/>
                      </a:endParaRPr>
                    </a:p>
                    <a:p>
                      <a:pPr marL="227013" lvl="4" indent="0" algn="l" defTabSz="914400" rtl="0" eaLnBrk="1" latinLnBrk="0" hangingPunct="1">
                        <a:spcBef>
                          <a:spcPts val="0"/>
                        </a:spcBef>
                        <a:spcAft>
                          <a:spcPts val="0"/>
                        </a:spcAft>
                        <a:buFont typeface="Arial" panose="020B0604020202020204" pitchFamily="34" charset="0"/>
                        <a:buNone/>
                      </a:pPr>
                      <a:r>
                        <a:rPr lang="en-US" sz="1800" b="0" kern="1200">
                          <a:solidFill>
                            <a:schemeClr val="tx1"/>
                          </a:solidFill>
                          <a:latin typeface="+mn-lt"/>
                          <a:ea typeface="+mn-ea"/>
                          <a:cs typeface="+mn-cs"/>
                        </a:rPr>
                        <a:t>Funds a variety of activities related to planning and zoning, site preparation for development, housing development, and infrastruct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95080851"/>
                  </a:ext>
                </a:extLst>
              </a:tr>
              <a:tr h="142948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chemeClr val="bg1"/>
                          </a:solidFill>
                        </a:rPr>
                        <a:t>Who is Eligible?</a:t>
                      </a:r>
                    </a:p>
                    <a:p>
                      <a:pPr algn="ctr">
                        <a:spcBef>
                          <a:spcPts val="0"/>
                        </a:spcBef>
                      </a:pPr>
                      <a:endParaRPr lang="en-US" sz="2000" b="1">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27013" lvl="4" indent="0" algn="l">
                        <a:spcBef>
                          <a:spcPts val="0"/>
                        </a:spcBef>
                        <a:spcAft>
                          <a:spcPts val="0"/>
                        </a:spcAft>
                        <a:buFont typeface="Arial" panose="020B0604020202020204" pitchFamily="34" charset="0"/>
                        <a:buNone/>
                      </a:pPr>
                      <a:r>
                        <a:rPr lang="en-US" sz="1800" b="0" kern="1200">
                          <a:solidFill>
                            <a:schemeClr val="tx1"/>
                          </a:solidFill>
                          <a:latin typeface="+mn-lt"/>
                          <a:ea typeface="+mn-ea"/>
                          <a:cs typeface="+mn-cs"/>
                        </a:rPr>
                        <a:t>Currently designated HCCs</a:t>
                      </a:r>
                    </a:p>
                    <a:p>
                      <a:pPr marL="227013" lvl="4" indent="0" algn="l">
                        <a:spcBef>
                          <a:spcPts val="0"/>
                        </a:spcBef>
                        <a:spcAft>
                          <a:spcPts val="0"/>
                        </a:spcAft>
                        <a:buFont typeface="Arial" panose="020B0604020202020204" pitchFamily="34" charset="0"/>
                        <a:buNone/>
                      </a:pPr>
                      <a:r>
                        <a:rPr lang="en-US" sz="1800" b="0" kern="1200">
                          <a:solidFill>
                            <a:schemeClr val="tx1"/>
                          </a:solidFill>
                          <a:latin typeface="+mn-lt"/>
                          <a:ea typeface="+mn-ea"/>
                          <a:cs typeface="+mn-cs"/>
                        </a:rPr>
                        <a:t>Related municipal entities (Public Housing Authority, Redevelopment Authority, Water/Sewer or Service District, Economic Development Industrial Corporation, bodies created by legislative act to serve a municipality) in a current HCC</a:t>
                      </a:r>
                    </a:p>
                    <a:p>
                      <a:pPr marL="227013" lvl="4" indent="0" algn="l">
                        <a:spcBef>
                          <a:spcPts val="0"/>
                        </a:spcBef>
                        <a:spcAft>
                          <a:spcPts val="0"/>
                        </a:spcAft>
                        <a:buFont typeface="Arial" panose="020B0604020202020204" pitchFamily="34" charset="0"/>
                        <a:buNone/>
                      </a:pPr>
                      <a:r>
                        <a:rPr lang="en-US" sz="1800" b="0" kern="1200">
                          <a:solidFill>
                            <a:schemeClr val="tx1"/>
                          </a:solidFill>
                          <a:latin typeface="+mn-lt"/>
                          <a:ea typeface="+mn-ea"/>
                          <a:cs typeface="+mn-cs"/>
                        </a:rPr>
                        <a:t>Regional Planning Agencies (with proposed project within a current HC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19532452"/>
                  </a:ext>
                </a:extLst>
              </a:tr>
            </a:tbl>
          </a:graphicData>
        </a:graphic>
      </p:graphicFrame>
    </p:spTree>
    <p:extLst>
      <p:ext uri="{BB962C8B-B14F-4D97-AF65-F5344CB8AC3E}">
        <p14:creationId xmlns:p14="http://schemas.microsoft.com/office/powerpoint/2010/main" val="3825862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267E5DA3-0C90-45E4-8C8F-A3E25140ACE5}"/>
              </a:ext>
            </a:extLst>
          </p:cNvPr>
          <p:cNvGraphicFramePr>
            <a:graphicFrameLocks noGrp="1"/>
          </p:cNvGraphicFramePr>
          <p:nvPr>
            <p:extLst>
              <p:ext uri="{D42A27DB-BD31-4B8C-83A1-F6EECF244321}">
                <p14:modId xmlns:p14="http://schemas.microsoft.com/office/powerpoint/2010/main" val="82985320"/>
              </p:ext>
            </p:extLst>
          </p:nvPr>
        </p:nvGraphicFramePr>
        <p:xfrm>
          <a:off x="175034" y="1626617"/>
          <a:ext cx="11841933" cy="5074223"/>
        </p:xfrm>
        <a:graphic>
          <a:graphicData uri="http://schemas.openxmlformats.org/drawingml/2006/table">
            <a:tbl>
              <a:tblPr firstRow="1" bandRow="1"/>
              <a:tblGrid>
                <a:gridCol w="2857878">
                  <a:extLst>
                    <a:ext uri="{9D8B030D-6E8A-4147-A177-3AD203B41FA5}">
                      <a16:colId xmlns:a16="http://schemas.microsoft.com/office/drawing/2014/main" val="3456381146"/>
                    </a:ext>
                  </a:extLst>
                </a:gridCol>
                <a:gridCol w="2046083">
                  <a:extLst>
                    <a:ext uri="{9D8B030D-6E8A-4147-A177-3AD203B41FA5}">
                      <a16:colId xmlns:a16="http://schemas.microsoft.com/office/drawing/2014/main" val="3855906801"/>
                    </a:ext>
                  </a:extLst>
                </a:gridCol>
                <a:gridCol w="2091351">
                  <a:extLst>
                    <a:ext uri="{9D8B030D-6E8A-4147-A177-3AD203B41FA5}">
                      <a16:colId xmlns:a16="http://schemas.microsoft.com/office/drawing/2014/main" val="3954271046"/>
                    </a:ext>
                  </a:extLst>
                </a:gridCol>
                <a:gridCol w="2281473">
                  <a:extLst>
                    <a:ext uri="{9D8B030D-6E8A-4147-A177-3AD203B41FA5}">
                      <a16:colId xmlns:a16="http://schemas.microsoft.com/office/drawing/2014/main" val="36592662"/>
                    </a:ext>
                  </a:extLst>
                </a:gridCol>
                <a:gridCol w="2565148">
                  <a:extLst>
                    <a:ext uri="{9D8B030D-6E8A-4147-A177-3AD203B41FA5}">
                      <a16:colId xmlns:a16="http://schemas.microsoft.com/office/drawing/2014/main" val="1234584374"/>
                    </a:ext>
                  </a:extLst>
                </a:gridCol>
              </a:tblGrid>
              <a:tr h="389791">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Preparing for Growth</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72C4"/>
                    </a:solidFill>
                  </a:tcPr>
                </a:tc>
                <a:tc hMerge="1">
                  <a:txBody>
                    <a:bodyPr/>
                    <a:lstStyle/>
                    <a:p>
                      <a:pPr marL="0" marR="0" algn="ctr">
                        <a:lnSpc>
                          <a:spcPct val="107000"/>
                        </a:lnSpc>
                        <a:spcBef>
                          <a:spcPts val="0"/>
                        </a:spcBef>
                        <a:spcAft>
                          <a:spcPts val="0"/>
                        </a:spcAft>
                      </a:pP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rgbClr val="DDDDDD"/>
                      </a:solidFill>
                      <a:prstDash val="solid"/>
                      <a:round/>
                      <a:headEnd type="none" w="med" len="med"/>
                      <a:tailEnd type="none" w="med" len="med"/>
                    </a:lnL>
                    <a:lnR w="12700" cap="flat" cmpd="sng" algn="ctr">
                      <a:solidFill>
                        <a:srgbClr val="E7E6E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CF3FA"/>
                    </a:solidFill>
                  </a:tcPr>
                </a:tc>
                <a:tc hMerge="1">
                  <a:txBody>
                    <a:bodyPr/>
                    <a:lstStyle/>
                    <a:p>
                      <a:pPr marL="0" marR="0" algn="ctr">
                        <a:lnSpc>
                          <a:spcPct val="107000"/>
                        </a:lnSpc>
                        <a:spcBef>
                          <a:spcPts val="0"/>
                        </a:spcBef>
                        <a:spcAft>
                          <a:spcPts val="0"/>
                        </a:spcAft>
                      </a:pP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rgbClr val="E7E6E6"/>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EEAF6"/>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talyzing Specific Projects</a:t>
                      </a:r>
                      <a:r>
                        <a:rPr lang="en-US"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marR="0" algn="ctr">
                        <a:lnSpc>
                          <a:spcPct val="107000"/>
                        </a:lnSpc>
                        <a:spcBef>
                          <a:spcPts val="0"/>
                        </a:spcBef>
                        <a:spcAft>
                          <a:spcPts val="0"/>
                        </a:spcAft>
                      </a:pP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rgbClr val="DDDDDD"/>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2CC"/>
                    </a:solidFill>
                  </a:tcPr>
                </a:tc>
                <a:extLst>
                  <a:ext uri="{0D108BD9-81ED-4DB2-BD59-A6C34878D82A}">
                    <a16:rowId xmlns:a16="http://schemas.microsoft.com/office/drawing/2014/main" val="1485258756"/>
                  </a:ext>
                </a:extLst>
              </a:tr>
              <a:tr h="473308">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Community Activation &amp; Placemaki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DEEAF6"/>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lanning &amp; Zoni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ECF3FA"/>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ite Preparation</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DEEAF6"/>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Buildi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FF7E1"/>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frastructur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4208190655"/>
                  </a:ext>
                </a:extLst>
              </a:tr>
              <a:tr h="3722205">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echnical Assistance for Downtown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Design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Mobility/Parking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Wayfinding/Branding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conomics of Downtown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edestrian Orientation/Placemaking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mall Business Support/E-commerce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orming a Downtown Management District </a:t>
                      </a:r>
                    </a:p>
                    <a:p>
                      <a:pPr marL="86995" marR="0">
                        <a:lnSpc>
                          <a:spcPct val="100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Equitable Workforce and Business Development Programming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ntrepreneurship and Small Business Development</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orkforce Development and Training Initiativ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mmunity Organizing and Leadership Development </a:t>
                      </a:r>
                    </a:p>
                  </a:txBody>
                  <a:tcPr marL="2875" marR="2875" marT="1438" marB="1438">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EEAF6"/>
                    </a:solidFill>
                  </a:tcPr>
                </a:tc>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mmunity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aster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eighborhood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Plan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rban Renewal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Production Plan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gional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rridor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53975" marR="0" lvl="0" indent="0" algn="l" defTabSz="914400" rtl="0" eaLnBrk="1" latinLnBrk="0" hangingPunct="1">
                        <a:lnSpc>
                          <a:spcPct val="100000"/>
                        </a:lnSpc>
                        <a:spcBef>
                          <a:spcPts val="0"/>
                        </a:spcBef>
                        <a:spcAft>
                          <a:spcPts val="0"/>
                        </a:spcAft>
                        <a:buFont typeface="Symbol" panose="05050102010706020507" pitchFamily="18" charset="2"/>
                        <a:buNone/>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Zoning Revis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Zoning Revision to Comply with Section 3A of MGL c.40A</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mprehensive Zoning Review &amp; Revision</a:t>
                      </a: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r>
                        <a:rPr lang="en-US" sz="1100" b="1"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lanning for Housing</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Feasibility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Site Master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Infrastructure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Site Design Plan</a:t>
                      </a: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r>
                        <a:rPr lang="en-US" sz="1100" b="1"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istrict Redevelopment Technical Assistance</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lanning for Growth in a Commercial/Industrial District</a:t>
                      </a:r>
                    </a:p>
                  </a:txBody>
                  <a:tcPr marL="2875" marR="2875" marT="1438" marB="1438">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3FA"/>
                    </a:solidFill>
                  </a:tcPr>
                </a:tc>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Brownfield Site Clean Up</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rownfields Site Assessment</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rownfields Remediation</a:t>
                      </a:r>
                    </a:p>
                    <a:p>
                      <a:pPr marL="0" marR="0">
                        <a:lnSpc>
                          <a:spcPct val="100000"/>
                        </a:lnSpc>
                        <a:spcBef>
                          <a:spcPts val="0"/>
                        </a:spcBef>
                        <a:spcAft>
                          <a:spcPts val="0"/>
                        </a:spcAft>
                      </a:pPr>
                      <a:r>
                        <a:rPr lang="en-US" sz="1100" b="1">
                          <a:effectLst/>
                          <a:latin typeface="Calibri" panose="020F0502020204030204" pitchFamily="34" charset="0"/>
                          <a:ea typeface="Calibri" panose="020F0502020204030204" pitchFamily="34"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ite Improvements to Unlock Development</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ite Readiness Pre-Constr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ite Readiness Construction</a:t>
                      </a:r>
                    </a:p>
                    <a:p>
                      <a:pPr marL="0" marR="0">
                        <a:lnSpc>
                          <a:spcPct val="100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unicipal Surplus Property Disposi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unicipal Surplus Property Disposition Study</a:t>
                      </a:r>
                    </a:p>
                  </a:txBody>
                  <a:tcPr marL="2875" marR="2875" marT="1438" marB="1438">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EEAF6"/>
                    </a:solidFill>
                  </a:tcPr>
                </a:tc>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Underutilized Property Rehabilita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nderutilized Property Pre-Constr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nderutilized Property Construction</a:t>
                      </a:r>
                    </a:p>
                    <a:p>
                      <a:pPr marL="86995" marR="0">
                        <a:lnSpc>
                          <a:spcPct val="100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mmunity Lead Housing Prod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pport Housing Prod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pport Housing Rehabilita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pport Housing Preservation</a:t>
                      </a: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53975" marR="0" indent="0" algn="l" defTabSz="914400" rtl="0" eaLnBrk="1" latinLnBrk="0" hangingPunct="1">
                        <a:lnSpc>
                          <a:spcPct val="100000"/>
                        </a:lnSpc>
                        <a:spcBef>
                          <a:spcPts val="0"/>
                        </a:spcBef>
                        <a:spcAft>
                          <a:spcPts val="0"/>
                        </a:spcAft>
                      </a:pPr>
                      <a:r>
                        <a:rPr lang="en-US" sz="1100" b="1">
                          <a:effectLst/>
                          <a:latin typeface="Calibri" panose="020F0502020204030204" pitchFamily="34" charset="0"/>
                          <a:ea typeface="Calibri" panose="020F0502020204030204" pitchFamily="34" charset="0"/>
                          <a:cs typeface="Times New Roman" panose="02020603050405020304" pitchFamily="18" charset="0"/>
                        </a:rPr>
                        <a:t> </a:t>
                      </a: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reating Collaborative Workspace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llaborative Workspace Feasibility Study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llaborative Workspace Fit-Out or Equipment</a:t>
                      </a:r>
                    </a:p>
                    <a:p>
                      <a:pPr marL="0" marR="0">
                        <a:lnSpc>
                          <a:spcPct val="100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7E1"/>
                    </a:solidFill>
                  </a:tcPr>
                </a:tc>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ublic Infrastructure to Support Housing Growth (Residential Only)</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re-construction - Design / Engineering Documents Only</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truction</a:t>
                      </a:r>
                    </a:p>
                    <a:p>
                      <a:pPr marL="0" marR="0">
                        <a:lnSpc>
                          <a:spcPct val="100000"/>
                        </a:lnSpc>
                        <a:spcBef>
                          <a:spcPts val="0"/>
                        </a:spcBef>
                        <a:spcAft>
                          <a:spcPts val="0"/>
                        </a:spcAft>
                      </a:pPr>
                      <a:r>
                        <a:rPr lang="en-US" sz="1100" b="1">
                          <a:effectLst/>
                          <a:latin typeface="Calibri" panose="020F0502020204030204" pitchFamily="34" charset="0"/>
                          <a:ea typeface="Calibri" panose="020F0502020204030204" pitchFamily="34"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ublic Infrastructure to Support Mixed-Use and Commercial/Industrial Growth</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re-construction - Design / Engineering Documents Only</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tr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53975" marR="0" indent="0">
                        <a:lnSpc>
                          <a:spcPct val="100000"/>
                        </a:lnSpc>
                        <a:spcBef>
                          <a:spcPts val="0"/>
                        </a:spcBef>
                        <a:spcAft>
                          <a:spcPts val="0"/>
                        </a:spcAft>
                      </a:pPr>
                      <a:r>
                        <a:rPr lang="en-US"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mall Town Road Improvements to Enhance Public Safety (STRAP)</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truction of Road Improvements to Enhance Public Safety</a:t>
                      </a:r>
                    </a:p>
                  </a:txBody>
                  <a:tcPr marL="2875" marR="2875" marT="1438" marB="1438">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2272573696"/>
                  </a:ext>
                </a:extLst>
              </a:tr>
            </a:tbl>
          </a:graphicData>
        </a:graphic>
      </p:graphicFrame>
      <p:sp>
        <p:nvSpPr>
          <p:cNvPr id="6" name="Title 1">
            <a:extLst>
              <a:ext uri="{FF2B5EF4-FFF2-40B4-BE49-F238E27FC236}">
                <a16:creationId xmlns:a16="http://schemas.microsoft.com/office/drawing/2014/main" id="{6F0772BF-7857-46D5-8BBB-054A180A9AC9}"/>
              </a:ext>
            </a:extLst>
          </p:cNvPr>
          <p:cNvSpPr>
            <a:spLocks noGrp="1"/>
          </p:cNvSpPr>
          <p:nvPr>
            <p:ph type="title"/>
          </p:nvPr>
        </p:nvSpPr>
        <p:spPr>
          <a:xfrm>
            <a:off x="462685" y="606288"/>
            <a:ext cx="10117513" cy="470898"/>
          </a:xfrm>
        </p:spPr>
        <p:txBody>
          <a:bodyPr/>
          <a:lstStyle/>
          <a:p>
            <a:r>
              <a:rPr lang="en-US"/>
              <a:t>Where Does HC Fit in the One Stop?</a:t>
            </a:r>
          </a:p>
        </p:txBody>
      </p:sp>
      <p:sp>
        <p:nvSpPr>
          <p:cNvPr id="7" name="Rectangle 6">
            <a:extLst>
              <a:ext uri="{FF2B5EF4-FFF2-40B4-BE49-F238E27FC236}">
                <a16:creationId xmlns:a16="http://schemas.microsoft.com/office/drawing/2014/main" id="{5E9820EC-76DE-4F23-B392-30C90ABEE4D8}"/>
              </a:ext>
            </a:extLst>
          </p:cNvPr>
          <p:cNvSpPr/>
          <p:nvPr/>
        </p:nvSpPr>
        <p:spPr>
          <a:xfrm>
            <a:off x="3051958" y="2431034"/>
            <a:ext cx="2024867" cy="3503042"/>
          </a:xfrm>
          <a:prstGeom prst="rect">
            <a:avLst/>
          </a:prstGeom>
          <a:noFill/>
          <a:ln w="38100" cap="rnd" cmpd="sng" algn="ctr">
            <a:solidFill>
              <a:srgbClr val="FF0000"/>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Rectangle 2">
            <a:extLst>
              <a:ext uri="{FF2B5EF4-FFF2-40B4-BE49-F238E27FC236}">
                <a16:creationId xmlns:a16="http://schemas.microsoft.com/office/drawing/2014/main" id="{8462D8AC-6C63-9423-3EAA-7CCCC0AD1877}"/>
              </a:ext>
            </a:extLst>
          </p:cNvPr>
          <p:cNvSpPr/>
          <p:nvPr/>
        </p:nvSpPr>
        <p:spPr>
          <a:xfrm>
            <a:off x="9448799" y="2431033"/>
            <a:ext cx="2568167" cy="2900988"/>
          </a:xfrm>
          <a:prstGeom prst="rect">
            <a:avLst/>
          </a:prstGeom>
          <a:noFill/>
          <a:ln w="38100" cap="rnd" cmpd="sng" algn="ctr">
            <a:solidFill>
              <a:srgbClr val="FF0000"/>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4" name="Rectangle 3">
            <a:extLst>
              <a:ext uri="{FF2B5EF4-FFF2-40B4-BE49-F238E27FC236}">
                <a16:creationId xmlns:a16="http://schemas.microsoft.com/office/drawing/2014/main" id="{FBF2FA93-D857-F505-09F6-C32E5B13085E}"/>
              </a:ext>
            </a:extLst>
          </p:cNvPr>
          <p:cNvSpPr/>
          <p:nvPr/>
        </p:nvSpPr>
        <p:spPr>
          <a:xfrm>
            <a:off x="5076827" y="3131216"/>
            <a:ext cx="2108606" cy="1642914"/>
          </a:xfrm>
          <a:prstGeom prst="rect">
            <a:avLst/>
          </a:prstGeom>
          <a:noFill/>
          <a:ln w="38100" cap="rnd" cmpd="sng" algn="ctr">
            <a:solidFill>
              <a:srgbClr val="FF0000"/>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 name="Rectangle 7">
            <a:extLst>
              <a:ext uri="{FF2B5EF4-FFF2-40B4-BE49-F238E27FC236}">
                <a16:creationId xmlns:a16="http://schemas.microsoft.com/office/drawing/2014/main" id="{0AF92E74-FF1D-1B60-BB3D-1DB91498C8B1}"/>
              </a:ext>
            </a:extLst>
          </p:cNvPr>
          <p:cNvSpPr/>
          <p:nvPr/>
        </p:nvSpPr>
        <p:spPr>
          <a:xfrm>
            <a:off x="7185433" y="2435533"/>
            <a:ext cx="2263366" cy="1815833"/>
          </a:xfrm>
          <a:prstGeom prst="rect">
            <a:avLst/>
          </a:prstGeom>
          <a:noFill/>
          <a:ln w="38100" cap="rnd" cmpd="sng" algn="ctr">
            <a:solidFill>
              <a:srgbClr val="FF0000"/>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98318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6950BFC3-D8DA-4A85-94F7-54DA5524770B}">
      <p188:commentRel xmlns:p188="http://schemas.microsoft.com/office/powerpoint/2018/8/main" r:id="rId2"/>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Important Project Parameters</a:t>
            </a:r>
          </a:p>
        </p:txBody>
      </p:sp>
      <p:graphicFrame>
        <p:nvGraphicFramePr>
          <p:cNvPr id="8" name="Table 7">
            <a:extLst>
              <a:ext uri="{FF2B5EF4-FFF2-40B4-BE49-F238E27FC236}">
                <a16:creationId xmlns:a16="http://schemas.microsoft.com/office/drawing/2014/main" id="{983CC68F-383A-4E59-ACB9-3E79B9607891}"/>
              </a:ext>
            </a:extLst>
          </p:cNvPr>
          <p:cNvGraphicFramePr>
            <a:graphicFrameLocks noGrp="1"/>
          </p:cNvGraphicFramePr>
          <p:nvPr>
            <p:extLst>
              <p:ext uri="{D42A27DB-BD31-4B8C-83A1-F6EECF244321}">
                <p14:modId xmlns:p14="http://schemas.microsoft.com/office/powerpoint/2010/main" val="451517176"/>
              </p:ext>
            </p:extLst>
          </p:nvPr>
        </p:nvGraphicFramePr>
        <p:xfrm>
          <a:off x="0" y="1168925"/>
          <a:ext cx="12192000" cy="5689074"/>
        </p:xfrm>
        <a:graphic>
          <a:graphicData uri="http://schemas.openxmlformats.org/drawingml/2006/table">
            <a:tbl>
              <a:tblPr firstRow="1" bandRow="1">
                <a:tableStyleId>{2D5ABB26-0587-4C30-8999-92F81FD0307C}</a:tableStyleId>
              </a:tblPr>
              <a:tblGrid>
                <a:gridCol w="2130641">
                  <a:extLst>
                    <a:ext uri="{9D8B030D-6E8A-4147-A177-3AD203B41FA5}">
                      <a16:colId xmlns:a16="http://schemas.microsoft.com/office/drawing/2014/main" val="2585012129"/>
                    </a:ext>
                  </a:extLst>
                </a:gridCol>
                <a:gridCol w="10061359">
                  <a:extLst>
                    <a:ext uri="{9D8B030D-6E8A-4147-A177-3AD203B41FA5}">
                      <a16:colId xmlns:a16="http://schemas.microsoft.com/office/drawing/2014/main" val="1726328295"/>
                    </a:ext>
                  </a:extLst>
                </a:gridCol>
              </a:tblGrid>
              <a:tr h="1639100">
                <a:tc>
                  <a:txBody>
                    <a:bodyPr/>
                    <a:lstStyle/>
                    <a:p>
                      <a:pPr algn="ctr"/>
                      <a:r>
                        <a:rPr lang="en-US" sz="2000" b="1">
                          <a:solidFill>
                            <a:schemeClr val="bg1"/>
                          </a:solidFill>
                        </a:rPr>
                        <a:t>Project Budge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0" lvl="4" indent="0" algn="l">
                        <a:spcBef>
                          <a:spcPts val="600"/>
                        </a:spcBef>
                        <a:spcAft>
                          <a:spcPts val="0"/>
                        </a:spcAft>
                        <a:buFont typeface="Arial" panose="020B0604020202020204" pitchFamily="34" charset="0"/>
                        <a:buNone/>
                      </a:pPr>
                      <a:r>
                        <a:rPr lang="en-US" sz="1800" kern="1200">
                          <a:solidFill>
                            <a:schemeClr val="tx1"/>
                          </a:solidFill>
                          <a:latin typeface="+mn-lt"/>
                          <a:ea typeface="+mn-ea"/>
                          <a:cs typeface="+mn-cs"/>
                        </a:rPr>
                        <a:t>Awards for single entities for site preparation, building, or infrastructure projects limited up to $500K</a:t>
                      </a:r>
                    </a:p>
                    <a:p>
                      <a:pPr marL="0" lvl="4" indent="0" algn="l">
                        <a:spcBef>
                          <a:spcPts val="600"/>
                        </a:spcBef>
                        <a:spcAft>
                          <a:spcPts val="0"/>
                        </a:spcAft>
                        <a:buFont typeface="Arial" panose="020B0604020202020204" pitchFamily="34" charset="0"/>
                        <a:buNone/>
                      </a:pPr>
                      <a:r>
                        <a:rPr lang="en-US" sz="1800" kern="1200">
                          <a:solidFill>
                            <a:schemeClr val="tx1"/>
                          </a:solidFill>
                          <a:latin typeface="+mn-lt"/>
                          <a:ea typeface="+mn-ea"/>
                          <a:cs typeface="+mn-cs"/>
                        </a:rPr>
                        <a:t>Awards for single entities for planning &amp; zoning projects limited up to $150K</a:t>
                      </a:r>
                    </a:p>
                    <a:p>
                      <a:pPr marL="742950" lvl="5" indent="-285750" algn="l">
                        <a:spcBef>
                          <a:spcPts val="600"/>
                        </a:spcBef>
                        <a:spcAft>
                          <a:spcPts val="0"/>
                        </a:spcAft>
                        <a:buFont typeface="Arial" panose="020B0604020202020204" pitchFamily="34" charset="0"/>
                        <a:buChar char="•"/>
                      </a:pPr>
                      <a:r>
                        <a:rPr lang="en-US" sz="1600" kern="1200">
                          <a:solidFill>
                            <a:schemeClr val="tx1"/>
                          </a:solidFill>
                          <a:latin typeface="+mn-lt"/>
                          <a:ea typeface="+mn-ea"/>
                          <a:cs typeface="+mn-cs"/>
                        </a:rPr>
                        <a:t>Awards over these amounts are considered only for joint or regional applications on a case-by-case basis at EOHLC’s discretion</a:t>
                      </a:r>
                    </a:p>
                    <a:p>
                      <a:pPr marL="742950" lvl="5" indent="-285750" algn="l">
                        <a:spcBef>
                          <a:spcPts val="600"/>
                        </a:spcBef>
                        <a:spcAft>
                          <a:spcPts val="0"/>
                        </a:spcAft>
                        <a:buFont typeface="Arial" panose="020B0604020202020204" pitchFamily="34" charset="0"/>
                        <a:buChar char="•"/>
                      </a:pPr>
                      <a:r>
                        <a:rPr lang="en-US" sz="1600" kern="1200">
                          <a:solidFill>
                            <a:schemeClr val="tx1"/>
                          </a:solidFill>
                          <a:latin typeface="+mn-lt"/>
                          <a:ea typeface="+mn-ea"/>
                          <a:cs typeface="+mn-cs"/>
                        </a:rPr>
                        <a:t>No local cash match requirements, but applications with 10% local match get bonus poi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95080851"/>
                  </a:ext>
                </a:extLst>
              </a:tr>
              <a:tr h="1121894">
                <a:tc>
                  <a:txBody>
                    <a:bodyPr/>
                    <a:lstStyle/>
                    <a:p>
                      <a:pPr algn="ctr"/>
                      <a:r>
                        <a:rPr lang="en-US" sz="2000" b="1">
                          <a:solidFill>
                            <a:schemeClr val="bg1"/>
                          </a:solidFill>
                        </a:rPr>
                        <a:t>Project Timeline Requir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0" lvl="4" indent="0" algn="l">
                        <a:spcBef>
                          <a:spcPts val="600"/>
                        </a:spcBef>
                        <a:spcAft>
                          <a:spcPts val="0"/>
                        </a:spcAft>
                        <a:buFont typeface="Arial" panose="020B0604020202020204" pitchFamily="34" charset="0"/>
                        <a:buNone/>
                      </a:pPr>
                      <a:r>
                        <a:rPr lang="en-US" sz="1800" kern="1200">
                          <a:solidFill>
                            <a:schemeClr val="tx1"/>
                          </a:solidFill>
                          <a:latin typeface="+mn-lt"/>
                          <a:ea typeface="+mn-ea"/>
                          <a:cs typeface="+mn-cs"/>
                        </a:rPr>
                        <a:t>2-year grant cycle</a:t>
                      </a:r>
                    </a:p>
                    <a:p>
                      <a:pPr marL="742950" lvl="5" indent="-285750" algn="l">
                        <a:spcBef>
                          <a:spcPts val="600"/>
                        </a:spcBef>
                        <a:spcAft>
                          <a:spcPts val="0"/>
                        </a:spcAft>
                        <a:buFont typeface="Arial" panose="020B0604020202020204" pitchFamily="34" charset="0"/>
                        <a:buChar char="•"/>
                      </a:pPr>
                      <a:r>
                        <a:rPr lang="en-US" sz="1600" kern="1200">
                          <a:solidFill>
                            <a:schemeClr val="tx1"/>
                          </a:solidFill>
                          <a:latin typeface="+mn-lt"/>
                          <a:ea typeface="+mn-ea"/>
                          <a:cs typeface="+mn-cs"/>
                        </a:rPr>
                        <a:t>Awards made in fall 2024</a:t>
                      </a:r>
                    </a:p>
                    <a:p>
                      <a:pPr marL="742950" lvl="5" indent="-285750" algn="l">
                        <a:spcBef>
                          <a:spcPts val="600"/>
                        </a:spcBef>
                        <a:spcAft>
                          <a:spcPts val="0"/>
                        </a:spcAft>
                        <a:buFont typeface="Arial" panose="020B0604020202020204" pitchFamily="34" charset="0"/>
                        <a:buChar char="•"/>
                      </a:pPr>
                      <a:r>
                        <a:rPr lang="en-US" sz="1600" kern="1200">
                          <a:solidFill>
                            <a:schemeClr val="tx1"/>
                          </a:solidFill>
                          <a:latin typeface="+mn-lt"/>
                          <a:ea typeface="+mn-ea"/>
                          <a:cs typeface="+mn-cs"/>
                        </a:rPr>
                        <a:t>Projects must be completed by June 30, 20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AEA"/>
                    </a:solidFill>
                  </a:tcPr>
                </a:tc>
                <a:extLst>
                  <a:ext uri="{0D108BD9-81ED-4DB2-BD59-A6C34878D82A}">
                    <a16:rowId xmlns:a16="http://schemas.microsoft.com/office/drawing/2014/main" val="1543606456"/>
                  </a:ext>
                </a:extLst>
              </a:tr>
              <a:tr h="1607879">
                <a:tc>
                  <a:txBody>
                    <a:bodyPr/>
                    <a:lstStyle/>
                    <a:p>
                      <a:pPr algn="ctr"/>
                      <a:r>
                        <a:rPr lang="en-US" sz="2000" b="1">
                          <a:solidFill>
                            <a:schemeClr val="bg1"/>
                          </a:solidFill>
                        </a:rPr>
                        <a:t>Eligible Use of Fun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0" lvl="4" indent="0" algn="l">
                        <a:spcBef>
                          <a:spcPts val="600"/>
                        </a:spcBef>
                        <a:spcAft>
                          <a:spcPts val="0"/>
                        </a:spcAft>
                        <a:buFont typeface="Arial" panose="020B0604020202020204" pitchFamily="34" charset="0"/>
                        <a:buNone/>
                      </a:pPr>
                      <a:r>
                        <a:rPr lang="en-US" sz="1800" b="0" kern="1200">
                          <a:solidFill>
                            <a:schemeClr val="tx1"/>
                          </a:solidFill>
                          <a:latin typeface="+mn-lt"/>
                          <a:ea typeface="+mn-ea"/>
                          <a:cs typeface="+mn-cs"/>
                        </a:rPr>
                        <a:t>Activities may include, but are not limited to:</a:t>
                      </a:r>
                    </a:p>
                    <a:p>
                      <a:pPr marL="742950" lvl="5" indent="-285750" algn="l">
                        <a:spcBef>
                          <a:spcPts val="600"/>
                        </a:spcBef>
                        <a:spcAft>
                          <a:spcPts val="0"/>
                        </a:spcAft>
                        <a:buFont typeface="Arial" panose="020B0604020202020204" pitchFamily="34" charset="0"/>
                        <a:buChar char="•"/>
                      </a:pPr>
                      <a:r>
                        <a:rPr lang="en-US" sz="1600" b="0" kern="1200">
                          <a:solidFill>
                            <a:schemeClr val="tx1"/>
                          </a:solidFill>
                          <a:latin typeface="+mn-lt"/>
                          <a:ea typeface="+mn-ea"/>
                          <a:cs typeface="+mn-cs"/>
                        </a:rPr>
                        <a:t>Community planning and zoning revisions (as defined in the FY25 Community Planning Grant Guidelines)</a:t>
                      </a:r>
                    </a:p>
                    <a:p>
                      <a:pPr marL="742950" lvl="5" indent="-285750" algn="l">
                        <a:spcBef>
                          <a:spcPts val="600"/>
                        </a:spcBef>
                        <a:spcAft>
                          <a:spcPts val="0"/>
                        </a:spcAft>
                        <a:buFont typeface="Arial" panose="020B0604020202020204" pitchFamily="34" charset="0"/>
                        <a:buChar char="•"/>
                      </a:pPr>
                      <a:r>
                        <a:rPr lang="en-US" sz="1600" b="0" kern="1200">
                          <a:solidFill>
                            <a:schemeClr val="tx1"/>
                          </a:solidFill>
                          <a:latin typeface="+mn-lt"/>
                          <a:ea typeface="+mn-ea"/>
                          <a:cs typeface="+mn-cs"/>
                        </a:rPr>
                        <a:t>Feasibility, engineering, design, and construction of physical infrastructure and of existing and new buildings</a:t>
                      </a:r>
                    </a:p>
                    <a:p>
                      <a:pPr marL="742950" lvl="5" indent="-285750" algn="l">
                        <a:spcBef>
                          <a:spcPts val="600"/>
                        </a:spcBef>
                        <a:spcAft>
                          <a:spcPts val="0"/>
                        </a:spcAft>
                        <a:buFont typeface="Arial" panose="020B0604020202020204" pitchFamily="34" charset="0"/>
                        <a:buChar char="•"/>
                      </a:pPr>
                      <a:r>
                        <a:rPr lang="en-US" sz="1600" b="0" kern="1200">
                          <a:solidFill>
                            <a:schemeClr val="tx1"/>
                          </a:solidFill>
                          <a:latin typeface="+mn-lt"/>
                          <a:ea typeface="+mn-ea"/>
                          <a:cs typeface="+mn-cs"/>
                        </a:rPr>
                        <a:t>Rehabilitation, due diligence, plan designs, market studies, pre-permitting/permitting, engineering, acquisition, demolition, and site-related upgrades of future development si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24327943"/>
                  </a:ext>
                </a:extLst>
              </a:tr>
              <a:tr h="1320201">
                <a:tc>
                  <a:txBody>
                    <a:bodyPr/>
                    <a:lstStyle/>
                    <a:p>
                      <a:pPr algn="ctr"/>
                      <a:r>
                        <a:rPr lang="en-US" sz="2000" b="1">
                          <a:solidFill>
                            <a:schemeClr val="bg1"/>
                          </a:solidFill>
                        </a:rPr>
                        <a:t>Ineligible Activit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0" lvl="4" indent="0" algn="l">
                        <a:spcBef>
                          <a:spcPts val="600"/>
                        </a:spcBef>
                        <a:spcAft>
                          <a:spcPts val="0"/>
                        </a:spcAft>
                        <a:buFont typeface="Arial" panose="020B0604020202020204" pitchFamily="34" charset="0"/>
                        <a:buNone/>
                      </a:pPr>
                      <a:r>
                        <a:rPr lang="en-US" sz="1800" b="0" kern="1200">
                          <a:solidFill>
                            <a:schemeClr val="tx1"/>
                          </a:solidFill>
                          <a:latin typeface="+mn-lt"/>
                          <a:ea typeface="+mn-ea"/>
                          <a:cs typeface="+mn-cs"/>
                        </a:rPr>
                        <a:t>Cannot fund staff time or training</a:t>
                      </a:r>
                    </a:p>
                    <a:p>
                      <a:pPr marL="0" lvl="4" indent="0" algn="l">
                        <a:spcBef>
                          <a:spcPts val="600"/>
                        </a:spcBef>
                        <a:spcAft>
                          <a:spcPts val="0"/>
                        </a:spcAft>
                        <a:buFont typeface="Arial" panose="020B0604020202020204" pitchFamily="34" charset="0"/>
                        <a:buNone/>
                      </a:pPr>
                      <a:r>
                        <a:rPr lang="en-US" sz="1800" b="0" kern="1200">
                          <a:solidFill>
                            <a:schemeClr val="tx1"/>
                          </a:solidFill>
                          <a:latin typeface="+mn-lt"/>
                          <a:ea typeface="+mn-ea"/>
                          <a:cs typeface="+mn-cs"/>
                        </a:rPr>
                        <a:t>Applicants with locally adopted growth limitations or housing or infrastructure moratoria are ineligib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AEA"/>
                    </a:solidFill>
                  </a:tcPr>
                </a:tc>
                <a:extLst>
                  <a:ext uri="{0D108BD9-81ED-4DB2-BD59-A6C34878D82A}">
                    <a16:rowId xmlns:a16="http://schemas.microsoft.com/office/drawing/2014/main" val="3319532452"/>
                  </a:ext>
                </a:extLst>
              </a:tr>
            </a:tbl>
          </a:graphicData>
        </a:graphic>
      </p:graphicFrame>
    </p:spTree>
    <p:extLst>
      <p:ext uri="{BB962C8B-B14F-4D97-AF65-F5344CB8AC3E}">
        <p14:creationId xmlns:p14="http://schemas.microsoft.com/office/powerpoint/2010/main" val="3322238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How To Be Competitive</a:t>
            </a:r>
          </a:p>
        </p:txBody>
      </p:sp>
      <p:sp>
        <p:nvSpPr>
          <p:cNvPr id="3" name="Content Placeholder 2">
            <a:extLst>
              <a:ext uri="{FF2B5EF4-FFF2-40B4-BE49-F238E27FC236}">
                <a16:creationId xmlns:a16="http://schemas.microsoft.com/office/drawing/2014/main" id="{E3E6AABC-5F61-4E1A-A4C3-0A52FDF0D3FB}"/>
              </a:ext>
            </a:extLst>
          </p:cNvPr>
          <p:cNvSpPr>
            <a:spLocks noGrp="1"/>
          </p:cNvSpPr>
          <p:nvPr>
            <p:ph sz="quarter" idx="13"/>
          </p:nvPr>
        </p:nvSpPr>
        <p:spPr>
          <a:xfrm>
            <a:off x="144379" y="1174766"/>
            <a:ext cx="11790948" cy="5486399"/>
          </a:xfrm>
        </p:spPr>
        <p:txBody>
          <a:bodyPr/>
          <a:lstStyle/>
          <a:p>
            <a:pPr marL="0" indent="0">
              <a:buNone/>
            </a:pPr>
            <a:r>
              <a:rPr lang="en-US" b="1"/>
              <a:t>Key information to consider</a:t>
            </a:r>
          </a:p>
          <a:p>
            <a:pPr lvl="1"/>
            <a:r>
              <a:rPr lang="en-US" sz="1800">
                <a:latin typeface="+mn-lt"/>
              </a:rPr>
              <a:t>Is the project best achieved as a full project within one grant cycle or as a phased approach?</a:t>
            </a:r>
          </a:p>
          <a:p>
            <a:pPr lvl="1"/>
            <a:r>
              <a:rPr lang="en-US" sz="1800">
                <a:latin typeface="+mn-lt"/>
              </a:rPr>
              <a:t>Guidelines include scoring rubric: How can you maximize all possible points?</a:t>
            </a:r>
          </a:p>
          <a:p>
            <a:pPr lvl="2"/>
            <a:r>
              <a:rPr lang="en-US" sz="1800">
                <a:latin typeface="+mn-lt"/>
              </a:rPr>
              <a:t>Note: Awards will take score, regional diversity, previous support from EOHLC, first time grant recipients, and alignment with priorities of the Secretary into account.</a:t>
            </a:r>
          </a:p>
          <a:p>
            <a:pPr marL="0" indent="0">
              <a:buNone/>
            </a:pPr>
            <a:r>
              <a:rPr lang="en-US" b="1"/>
              <a:t>Full application questions to pay attention to</a:t>
            </a:r>
          </a:p>
          <a:p>
            <a:pPr lvl="1"/>
            <a:r>
              <a:rPr lang="en-US" sz="1800">
                <a:latin typeface="+mn-lt"/>
              </a:rPr>
              <a:t>2.6. Project Need: Show, not just tell, the need </a:t>
            </a:r>
            <a:r>
              <a:rPr lang="en-US" sz="1800" u="sng">
                <a:latin typeface="+mn-lt"/>
              </a:rPr>
              <a:t>specific to your community</a:t>
            </a:r>
          </a:p>
          <a:p>
            <a:pPr lvl="1"/>
            <a:r>
              <a:rPr lang="en-US" sz="1800">
                <a:latin typeface="+mn-lt"/>
              </a:rPr>
              <a:t>2.16. Progress to Date: Include descriptions of recently implemented local ordinances or bylaws that directly impact this project</a:t>
            </a:r>
          </a:p>
          <a:p>
            <a:pPr lvl="1"/>
            <a:r>
              <a:rPr lang="en-US" sz="1800">
                <a:latin typeface="+mn-lt"/>
              </a:rPr>
              <a:t>2.20. Project Impacts: Provide best estimates for housing outcomes (if possible)</a:t>
            </a:r>
          </a:p>
          <a:p>
            <a:pPr lvl="1"/>
            <a:r>
              <a:rPr lang="en-US" sz="1800">
                <a:latin typeface="+mn-lt"/>
              </a:rPr>
              <a:t>6.2. – 6.3. Housing Choice Best Practices: Claiming a Best Practice without supporting evidence will not earn point(s)</a:t>
            </a:r>
          </a:p>
          <a:p>
            <a:pPr lvl="2"/>
            <a:r>
              <a:rPr lang="en-US" sz="1800">
                <a:latin typeface="+mn-lt"/>
              </a:rPr>
              <a:t>Application includes 2023 Best Practices (2024 Best Practices will be updated, but not affect/be used for the FY25 application round)</a:t>
            </a:r>
          </a:p>
          <a:p>
            <a:pPr marL="0" indent="0">
              <a:buNone/>
            </a:pPr>
            <a:r>
              <a:rPr lang="en-US" b="1"/>
              <a:t>Expected attachments</a:t>
            </a:r>
            <a:endParaRPr lang="en-US" sz="1800" b="1"/>
          </a:p>
          <a:p>
            <a:pPr lvl="1"/>
            <a:r>
              <a:rPr lang="en-US" sz="1800">
                <a:latin typeface="+mn-lt"/>
              </a:rPr>
              <a:t>2.11. Consultant/Contractor Cost Estimate</a:t>
            </a:r>
          </a:p>
          <a:p>
            <a:pPr lvl="1"/>
            <a:r>
              <a:rPr lang="en-US" sz="1800">
                <a:latin typeface="+mn-lt"/>
              </a:rPr>
              <a:t>2.12. Project Location Map</a:t>
            </a:r>
          </a:p>
          <a:p>
            <a:pPr lvl="1"/>
            <a:r>
              <a:rPr lang="en-US" sz="1800">
                <a:latin typeface="+mn-lt"/>
              </a:rPr>
              <a:t>Evidence of Housing Choice Best Practices</a:t>
            </a:r>
          </a:p>
          <a:p>
            <a:pPr lvl="1"/>
            <a:r>
              <a:rPr lang="en-US" sz="1800">
                <a:latin typeface="+mn-lt"/>
              </a:rPr>
              <a:t>Site Plan/Construction Drawing (as applicable)</a:t>
            </a:r>
          </a:p>
        </p:txBody>
      </p:sp>
    </p:spTree>
    <p:extLst>
      <p:ext uri="{BB962C8B-B14F-4D97-AF65-F5344CB8AC3E}">
        <p14:creationId xmlns:p14="http://schemas.microsoft.com/office/powerpoint/2010/main" val="814654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Successful Application Example #1</a:t>
            </a:r>
          </a:p>
        </p:txBody>
      </p:sp>
      <p:graphicFrame>
        <p:nvGraphicFramePr>
          <p:cNvPr id="5" name="Table 4">
            <a:extLst>
              <a:ext uri="{FF2B5EF4-FFF2-40B4-BE49-F238E27FC236}">
                <a16:creationId xmlns:a16="http://schemas.microsoft.com/office/drawing/2014/main" id="{8D2F9C98-2070-4104-8270-F8DBDB0B4393}"/>
              </a:ext>
            </a:extLst>
          </p:cNvPr>
          <p:cNvGraphicFramePr>
            <a:graphicFrameLocks noGrp="1"/>
          </p:cNvGraphicFramePr>
          <p:nvPr>
            <p:extLst>
              <p:ext uri="{D42A27DB-BD31-4B8C-83A1-F6EECF244321}">
                <p14:modId xmlns:p14="http://schemas.microsoft.com/office/powerpoint/2010/main" val="664884044"/>
              </p:ext>
            </p:extLst>
          </p:nvPr>
        </p:nvGraphicFramePr>
        <p:xfrm>
          <a:off x="130630" y="1506302"/>
          <a:ext cx="8380428" cy="5135163"/>
        </p:xfrm>
        <a:graphic>
          <a:graphicData uri="http://schemas.openxmlformats.org/drawingml/2006/table">
            <a:tbl>
              <a:tblPr firstRow="1" bandRow="1">
                <a:tableStyleId>{2D5ABB26-0587-4C30-8999-92F81FD0307C}</a:tableStyleId>
              </a:tblPr>
              <a:tblGrid>
                <a:gridCol w="1960919">
                  <a:extLst>
                    <a:ext uri="{9D8B030D-6E8A-4147-A177-3AD203B41FA5}">
                      <a16:colId xmlns:a16="http://schemas.microsoft.com/office/drawing/2014/main" val="1413125183"/>
                    </a:ext>
                  </a:extLst>
                </a:gridCol>
                <a:gridCol w="6419509">
                  <a:extLst>
                    <a:ext uri="{9D8B030D-6E8A-4147-A177-3AD203B41FA5}">
                      <a16:colId xmlns:a16="http://schemas.microsoft.com/office/drawing/2014/main" val="1715056663"/>
                    </a:ext>
                  </a:extLst>
                </a:gridCol>
              </a:tblGrid>
              <a:tr h="530195">
                <a:tc>
                  <a:txBody>
                    <a:bodyPr/>
                    <a:lstStyle/>
                    <a:p>
                      <a:r>
                        <a:rPr lang="en-US" b="1"/>
                        <a:t>Applicant:</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en-US"/>
                        <a:t>Brockton (FY22)</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21206952"/>
                  </a:ext>
                </a:extLst>
              </a:tr>
              <a:tr h="2670979">
                <a:tc>
                  <a:txBody>
                    <a:bodyPr/>
                    <a:lstStyle/>
                    <a:p>
                      <a:r>
                        <a:rPr lang="en-US" b="1"/>
                        <a:t>Project Description:</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r>
                        <a:rPr lang="en-US" i="1" dirty="0"/>
                        <a:t>Infrastructure: Streetscape/Roadway Improvements</a:t>
                      </a:r>
                    </a:p>
                    <a:p>
                      <a:r>
                        <a:rPr lang="en-US" dirty="0"/>
                        <a:t>The Planning Office for Urban Affairs will create a 160-unit multi-family residential development in the Thatcher Street Smart Growth Overlay District. The proposed development will reuse the existing Our Lady of Sorrows convent to create a sustainable, healthy, vibrant and diverse community. The project requires new sidewalks and pedestrian accommodations in the public way. The City is seeking infrastructure support to build these public improvements. This is a single-phase project that can be completed in one construction season.</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046390375"/>
                  </a:ext>
                </a:extLst>
              </a:tr>
              <a:tr h="1770328">
                <a:tc>
                  <a:txBody>
                    <a:bodyPr/>
                    <a:lstStyle/>
                    <a:p>
                      <a:r>
                        <a:rPr lang="en-US" b="1"/>
                        <a:t>What Made the Project Successful:</a:t>
                      </a:r>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dirty="0"/>
                        <a:t>Clearly defined need that directly supports new housing development</a:t>
                      </a:r>
                    </a:p>
                    <a:p>
                      <a:pPr marL="285750" indent="-285750">
                        <a:buFont typeface="Arial" panose="020B0604020202020204" pitchFamily="34" charset="0"/>
                        <a:buChar char="•"/>
                      </a:pPr>
                      <a:r>
                        <a:rPr lang="en-US" dirty="0"/>
                        <a:t>Justifiable cost with demonstrated ready implementation and scope of work to be completed within grant timeline</a:t>
                      </a:r>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0569515"/>
                  </a:ext>
                </a:extLst>
              </a:tr>
            </a:tbl>
          </a:graphicData>
        </a:graphic>
      </p:graphicFrame>
      <p:pic>
        <p:nvPicPr>
          <p:cNvPr id="4" name="Picture 3">
            <a:extLst>
              <a:ext uri="{FF2B5EF4-FFF2-40B4-BE49-F238E27FC236}">
                <a16:creationId xmlns:a16="http://schemas.microsoft.com/office/drawing/2014/main" id="{9E9BC0DE-DA7F-CA02-F823-FE1B61B870C6}"/>
              </a:ext>
            </a:extLst>
          </p:cNvPr>
          <p:cNvPicPr>
            <a:picLocks noChangeAspect="1"/>
          </p:cNvPicPr>
          <p:nvPr/>
        </p:nvPicPr>
        <p:blipFill>
          <a:blip r:embed="rId2"/>
          <a:stretch>
            <a:fillRect/>
          </a:stretch>
        </p:blipFill>
        <p:spPr>
          <a:xfrm>
            <a:off x="8511865" y="2543026"/>
            <a:ext cx="3590159" cy="1771947"/>
          </a:xfrm>
          <a:prstGeom prst="rect">
            <a:avLst/>
          </a:prstGeom>
        </p:spPr>
      </p:pic>
      <p:sp>
        <p:nvSpPr>
          <p:cNvPr id="7" name="TextBox 6">
            <a:extLst>
              <a:ext uri="{FF2B5EF4-FFF2-40B4-BE49-F238E27FC236}">
                <a16:creationId xmlns:a16="http://schemas.microsoft.com/office/drawing/2014/main" id="{04A301E5-F720-3E50-BA51-D28FAC14A5B2}"/>
              </a:ext>
            </a:extLst>
          </p:cNvPr>
          <p:cNvSpPr txBox="1"/>
          <p:nvPr/>
        </p:nvSpPr>
        <p:spPr>
          <a:xfrm>
            <a:off x="8511865" y="4321748"/>
            <a:ext cx="3590159" cy="5486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575757"/>
                </a:solidFill>
                <a:hlinkClick r:id="rId3"/>
              </a:rPr>
              <a:t>Read about Brockton’s project here</a:t>
            </a:r>
            <a:r>
              <a:rPr lang="en-US">
                <a:solidFill>
                  <a:srgbClr val="575757"/>
                </a:solidFill>
              </a:rPr>
              <a:t>.</a:t>
            </a:r>
          </a:p>
        </p:txBody>
      </p:sp>
    </p:spTree>
    <p:extLst>
      <p:ext uri="{BB962C8B-B14F-4D97-AF65-F5344CB8AC3E}">
        <p14:creationId xmlns:p14="http://schemas.microsoft.com/office/powerpoint/2010/main" val="3197768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Successful Application Example #2</a:t>
            </a:r>
          </a:p>
        </p:txBody>
      </p:sp>
      <p:graphicFrame>
        <p:nvGraphicFramePr>
          <p:cNvPr id="5" name="Table 4">
            <a:extLst>
              <a:ext uri="{FF2B5EF4-FFF2-40B4-BE49-F238E27FC236}">
                <a16:creationId xmlns:a16="http://schemas.microsoft.com/office/drawing/2014/main" id="{8D2F9C98-2070-4104-8270-F8DBDB0B4393}"/>
              </a:ext>
            </a:extLst>
          </p:cNvPr>
          <p:cNvGraphicFramePr>
            <a:graphicFrameLocks noGrp="1"/>
          </p:cNvGraphicFramePr>
          <p:nvPr>
            <p:extLst>
              <p:ext uri="{D42A27DB-BD31-4B8C-83A1-F6EECF244321}">
                <p14:modId xmlns:p14="http://schemas.microsoft.com/office/powerpoint/2010/main" val="3112190014"/>
              </p:ext>
            </p:extLst>
          </p:nvPr>
        </p:nvGraphicFramePr>
        <p:xfrm>
          <a:off x="152400" y="1472664"/>
          <a:ext cx="8380429" cy="5024063"/>
        </p:xfrm>
        <a:graphic>
          <a:graphicData uri="http://schemas.openxmlformats.org/drawingml/2006/table">
            <a:tbl>
              <a:tblPr firstRow="1" bandRow="1">
                <a:tableStyleId>{2D5ABB26-0587-4C30-8999-92F81FD0307C}</a:tableStyleId>
              </a:tblPr>
              <a:tblGrid>
                <a:gridCol w="1960919">
                  <a:extLst>
                    <a:ext uri="{9D8B030D-6E8A-4147-A177-3AD203B41FA5}">
                      <a16:colId xmlns:a16="http://schemas.microsoft.com/office/drawing/2014/main" val="1413125183"/>
                    </a:ext>
                  </a:extLst>
                </a:gridCol>
                <a:gridCol w="6419510">
                  <a:extLst>
                    <a:ext uri="{9D8B030D-6E8A-4147-A177-3AD203B41FA5}">
                      <a16:colId xmlns:a16="http://schemas.microsoft.com/office/drawing/2014/main" val="1715056663"/>
                    </a:ext>
                  </a:extLst>
                </a:gridCol>
              </a:tblGrid>
              <a:tr h="631034">
                <a:tc>
                  <a:txBody>
                    <a:bodyPr/>
                    <a:lstStyle/>
                    <a:p>
                      <a:r>
                        <a:rPr lang="en-US" b="1"/>
                        <a:t>Applicant:</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en-US"/>
                        <a:t>Somerville &amp; Medford (FY23) – 1st joint award!</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21206952"/>
                  </a:ext>
                </a:extLst>
              </a:tr>
              <a:tr h="2127613">
                <a:tc>
                  <a:txBody>
                    <a:bodyPr/>
                    <a:lstStyle/>
                    <a:p>
                      <a:r>
                        <a:rPr lang="en-US" b="1"/>
                        <a:t>Project Description:</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r>
                        <a:rPr lang="en-US" i="1"/>
                        <a:t>Planning and Zoning: Zoning Update</a:t>
                      </a:r>
                    </a:p>
                    <a:p>
                      <a:r>
                        <a:rPr lang="en-US" i="0"/>
                        <a:t>The City of Somerville and the City of Medford will develop and oversee adoption of a Zoning Vision Plan for Broadway between Ball Square and </a:t>
                      </a:r>
                      <a:r>
                        <a:rPr lang="en-US" i="0" err="1"/>
                        <a:t>Magoun</a:t>
                      </a:r>
                      <a:r>
                        <a:rPr lang="en-US" i="0"/>
                        <a:t> Square (0.5 miles) that should be ready for mixed use development near MBTA Green Line Extension T stations and address boundary between Somerville and Medford that splits many parcels, which forces developers to satisfy two sets of zoning regulations.</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046390375"/>
                  </a:ext>
                </a:extLst>
              </a:tr>
              <a:tr h="2107029">
                <a:tc>
                  <a:txBody>
                    <a:bodyPr/>
                    <a:lstStyle/>
                    <a:p>
                      <a:r>
                        <a:rPr lang="en-US" b="1" dirty="0"/>
                        <a:t>What Made the Project Successful:</a:t>
                      </a:r>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dirty="0"/>
                        <a:t>Clear project need that shows collaboration between entities with tangible outcomes</a:t>
                      </a:r>
                    </a:p>
                    <a:p>
                      <a:pPr marL="285750" indent="-285750">
                        <a:buFont typeface="Arial" panose="020B0604020202020204" pitchFamily="34" charset="0"/>
                        <a:buChar char="•"/>
                      </a:pPr>
                      <a:r>
                        <a:rPr lang="en-US" dirty="0"/>
                        <a:t>Detailed scope of work and clear path to feasible implementation</a:t>
                      </a:r>
                    </a:p>
                    <a:p>
                      <a:pPr marL="285750" indent="-285750">
                        <a:buFont typeface="Arial" panose="020B0604020202020204" pitchFamily="34" charset="0"/>
                        <a:buChar char="•"/>
                      </a:pPr>
                      <a:r>
                        <a:rPr lang="en-US" dirty="0"/>
                        <a:t>Demonstrated commitment to date shown by follow up on recent comprehensive zoning updates</a:t>
                      </a:r>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0569515"/>
                  </a:ext>
                </a:extLst>
              </a:tr>
            </a:tbl>
          </a:graphicData>
        </a:graphic>
      </p:graphicFrame>
      <p:pic>
        <p:nvPicPr>
          <p:cNvPr id="1026" name="Picture 2" descr="City of Somerville logo">
            <a:extLst>
              <a:ext uri="{FF2B5EF4-FFF2-40B4-BE49-F238E27FC236}">
                <a16:creationId xmlns:a16="http://schemas.microsoft.com/office/drawing/2014/main" id="{CD461465-7048-9DF2-4D19-87E6B6837E3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0429" y="2788119"/>
            <a:ext cx="3566929" cy="4820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8371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0Y3TUtAWCEyVgouIKpJ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2_mRzxFn2ndc3EF2bQwT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s3_zEYHNMM.i9u1UIDl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qPnVO5tPQHBrguEcizx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VQ2DWeAMXaWqP_Yswg2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r4LL0l1R4du6IuOHm27D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zlV6MgwjgHHt3Jux.3H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qK297gJAX7uBE20QM2CD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6moBDbXqpfZrWvQ0eF7q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qS4ZXSCT80CMpuhVSLv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9oVUxidkXTkcaFBmN4UH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cp78DyTKuYK0RoVRdtOu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orhrDNns92i8GAiNGiT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UzdYKEkiSx7UbFHW3Dv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4pk7SfZdhqGksTnYeijl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rQQirX1h9tNvKrB12aeT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XDcbLvQ_O3eG3pQs8SQ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ShqmB8oMKGJ2Z1tPNoik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5Dmb.QtX0cefE3peKdM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0xECdEVv3liOru1YNuY4R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od8pcatJjsNG5GxFtrD2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3TID_0JSrt6jrfaaNtdk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8WT_BXsiDPIolonTpP0Zg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txuBgrlii3MLJbTNBgVw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QABU8dNMhYZ3cFgO1bF5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sQnssRPdsWArwmFLcLx2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N3AhFq_sTCZ2pD5WL69L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96NFRb0xjQ3NueeVOW5gq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gek42uTJkqPB5_gbtORYc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PushTMARfdn4o5o13uRqe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4OhNXgWJo0gY2TbFZgAY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14_E8mg3F4ndjktv6CTef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aoc.f3w60ZJRjWrS5n.W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o6XMKahlfm6HDGKU0pOW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BTA Grid 16:9">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1196768-4157-4d80-b3c6-79cf9493a5fe">
      <Terms xmlns="http://schemas.microsoft.com/office/infopath/2007/PartnerControls"/>
    </lcf76f155ced4ddcb4097134ff3c332f>
    <TaxCatchAll xmlns="5f8eec94-f1e8-4333-9199-0fcb2e707b9d" xsi:nil="true"/>
    <SharedWithUsers xmlns="5f8eec94-f1e8-4333-9199-0fcb2e707b9d">
      <UserInfo>
        <DisplayName>Kluchman, Chris (EOHLC)</DisplayName>
        <AccountId>61</AccountId>
        <AccountType/>
      </UserInfo>
      <UserInfo>
        <DisplayName>Bell, McKenzie (EOHLC)</DisplayName>
        <AccountId>957</AccountId>
        <AccountType/>
      </UserInfo>
      <UserInfo>
        <DisplayName>Zamborlini, Filipe (EOHLC)</DisplayName>
        <AccountId>80</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23EC507CF3D814C891D1408D57845A8" ma:contentTypeVersion="15" ma:contentTypeDescription="Create a new document." ma:contentTypeScope="" ma:versionID="b0048444fbcbe36c562be25288eb7d2d">
  <xsd:schema xmlns:xsd="http://www.w3.org/2001/XMLSchema" xmlns:xs="http://www.w3.org/2001/XMLSchema" xmlns:p="http://schemas.microsoft.com/office/2006/metadata/properties" xmlns:ns2="e1196768-4157-4d80-b3c6-79cf9493a5fe" xmlns:ns3="5f8eec94-f1e8-4333-9199-0fcb2e707b9d" targetNamespace="http://schemas.microsoft.com/office/2006/metadata/properties" ma:root="true" ma:fieldsID="cd0d80345393a278978358a08207d55c" ns2:_="" ns3:_="">
    <xsd:import namespace="e1196768-4157-4d80-b3c6-79cf9493a5fe"/>
    <xsd:import namespace="5f8eec94-f1e8-4333-9199-0fcb2e707b9d"/>
    <xsd:element name="properties">
      <xsd:complexType>
        <xsd:sequence>
          <xsd:element name="documentManagement">
            <xsd:complexType>
              <xsd:all>
                <xsd:element ref="ns2:MediaServiceMetadata" minOccurs="0"/>
                <xsd:element ref="ns2:MediaServiceFastMetadata" minOccurs="0"/>
                <xsd:element ref="ns2:MediaLengthInSecond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196768-4157-4d80-b3c6-79cf9493a5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Length (seconds)" ma:internalName="MediaLengthInSeconds" ma:readOnly="true">
      <xsd:simpleType>
        <xsd:restriction base="dms:Unknow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f8eec94-f1e8-4333-9199-0fcb2e707b9d"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b81b5905-22af-45a9-86d7-a1f9675fe683}" ma:internalName="TaxCatchAll" ma:showField="CatchAllData" ma:web="5f8eec94-f1e8-4333-9199-0fcb2e707b9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573FBDD-3636-4A17-920A-B9A3594B851F}">
  <ds:schemaRefs>
    <ds:schemaRef ds:uri="http://schemas.microsoft.com/sharepoint/v3/contenttype/forms"/>
  </ds:schemaRefs>
</ds:datastoreItem>
</file>

<file path=customXml/itemProps2.xml><?xml version="1.0" encoding="utf-8"?>
<ds:datastoreItem xmlns:ds="http://schemas.openxmlformats.org/officeDocument/2006/customXml" ds:itemID="{87E90527-A20D-43B5-B396-470DFA14DE2E}">
  <ds:schemaRefs>
    <ds:schemaRef ds:uri="http://schemas.microsoft.com/office/2006/documentManagement/types"/>
    <ds:schemaRef ds:uri="http://purl.org/dc/dcmitype/"/>
    <ds:schemaRef ds:uri="http://www.w3.org/XML/1998/namespace"/>
    <ds:schemaRef ds:uri="http://schemas.microsoft.com/office/2006/metadata/properties"/>
    <ds:schemaRef ds:uri="284a69f8-a849-4d4f-929d-22bdf9b66af6"/>
    <ds:schemaRef ds:uri="http://purl.org/dc/elements/1.1/"/>
    <ds:schemaRef ds:uri="http://purl.org/dc/terms/"/>
    <ds:schemaRef ds:uri="http://schemas.microsoft.com/office/infopath/2007/PartnerControls"/>
    <ds:schemaRef ds:uri="http://schemas.openxmlformats.org/package/2006/metadata/core-properties"/>
    <ds:schemaRef ds:uri="7b83dbe2-6fd2-449a-a932-0d75829bf641"/>
  </ds:schemaRefs>
</ds:datastoreItem>
</file>

<file path=customXml/itemProps3.xml><?xml version="1.0" encoding="utf-8"?>
<ds:datastoreItem xmlns:ds="http://schemas.openxmlformats.org/officeDocument/2006/customXml" ds:itemID="{20922EEC-ED08-41A6-82FF-63FA3EBA4E49}"/>
</file>

<file path=docProps/app.xml><?xml version="1.0" encoding="utf-8"?>
<Properties xmlns="http://schemas.openxmlformats.org/officeDocument/2006/extended-properties" xmlns:vt="http://schemas.openxmlformats.org/officeDocument/2006/docPropsVTypes">
  <Template/>
  <TotalTime>0</TotalTime>
  <Words>1900</Words>
  <Application>Microsoft Office PowerPoint</Application>
  <PresentationFormat>Widescreen</PresentationFormat>
  <Paragraphs>220</Paragraphs>
  <Slides>13</Slides>
  <Notes>2</Notes>
  <HiddenSlides>0</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MBTA Grid 16:9</vt:lpstr>
      <vt:lpstr>Housing Choice  Grant Program  Guidance Webinar</vt:lpstr>
      <vt:lpstr>Road Map</vt:lpstr>
      <vt:lpstr>What is the Community One Stop for Growth?</vt:lpstr>
      <vt:lpstr>Housing Choice Grant Program Overview</vt:lpstr>
      <vt:lpstr>Where Does HC Fit in the One Stop?</vt:lpstr>
      <vt:lpstr>Important Project Parameters</vt:lpstr>
      <vt:lpstr>How To Be Competitive</vt:lpstr>
      <vt:lpstr>Successful Application Example #1</vt:lpstr>
      <vt:lpstr>Successful Application Example #2</vt:lpstr>
      <vt:lpstr>Successful Application Example #3</vt:lpstr>
      <vt:lpstr>Completing the Full Application</vt:lpstr>
      <vt:lpstr>FY25 Round Timeline</vt:lpstr>
      <vt:lpstr>Opportunities for Guida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am} Guidance Webinar</dc:title>
  <dc:creator>Shannon, Patrick (EOED)</dc:creator>
  <cp:lastModifiedBy>Kluchman, Chris (EOHLC)</cp:lastModifiedBy>
  <cp:revision>4</cp:revision>
  <dcterms:created xsi:type="dcterms:W3CDTF">2023-11-01T17:03:17Z</dcterms:created>
  <dcterms:modified xsi:type="dcterms:W3CDTF">2024-02-05T13:11: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F75741674DAB3C4A91D4D4EAF8471F21</vt:lpwstr>
  </property>
</Properties>
</file>